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8" r:id="rId2"/>
  </p:sldMasterIdLst>
  <p:notesMasterIdLst>
    <p:notesMasterId r:id="rId9"/>
  </p:notesMasterIdLst>
  <p:handoutMasterIdLst>
    <p:handoutMasterId r:id="rId10"/>
  </p:handoutMasterIdLst>
  <p:sldIdLst>
    <p:sldId id="613" r:id="rId3"/>
    <p:sldId id="607" r:id="rId4"/>
    <p:sldId id="614" r:id="rId5"/>
    <p:sldId id="609" r:id="rId6"/>
    <p:sldId id="610" r:id="rId7"/>
    <p:sldId id="611" r:id="rId8"/>
  </p:sldIdLst>
  <p:sldSz cx="12190413" cy="6859588"/>
  <p:notesSz cx="6858000" cy="9144000"/>
  <p:custDataLst>
    <p:tags r:id="rId11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25">
          <p15:clr>
            <a:srgbClr val="A4A3A4"/>
          </p15:clr>
        </p15:guide>
        <p15:guide id="2" orient="horz" pos="4013">
          <p15:clr>
            <a:srgbClr val="A4A3A4"/>
          </p15:clr>
        </p15:guide>
        <p15:guide id="3" orient="horz" pos="484">
          <p15:clr>
            <a:srgbClr val="A4A3A4"/>
          </p15:clr>
        </p15:guide>
        <p15:guide id="4" orient="horz" pos="802">
          <p15:clr>
            <a:srgbClr val="A4A3A4"/>
          </p15:clr>
        </p15:guide>
        <p15:guide id="5" orient="horz" pos="1608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165">
          <p15:clr>
            <a:srgbClr val="A4A3A4"/>
          </p15:clr>
        </p15:guide>
        <p15:guide id="8" orient="horz" pos="4170">
          <p15:clr>
            <a:srgbClr val="A4A3A4"/>
          </p15:clr>
        </p15:guide>
        <p15:guide id="9" orient="horz" pos="2886">
          <p15:clr>
            <a:srgbClr val="A4A3A4"/>
          </p15:clr>
        </p15:guide>
        <p15:guide id="10" orient="horz" pos="964">
          <p15:clr>
            <a:srgbClr val="A4A3A4"/>
          </p15:clr>
        </p15:guide>
        <p15:guide id="11" orient="horz" pos="3053">
          <p15:clr>
            <a:srgbClr val="A4A3A4"/>
          </p15:clr>
        </p15:guide>
        <p15:guide id="12" orient="horz" pos="1131">
          <p15:clr>
            <a:srgbClr val="A4A3A4"/>
          </p15:clr>
        </p15:guide>
        <p15:guide id="13" orient="horz" pos="2723">
          <p15:clr>
            <a:srgbClr val="A4A3A4"/>
          </p15:clr>
        </p15:guide>
        <p15:guide id="14" orient="horz" pos="1280">
          <p15:clr>
            <a:srgbClr val="A4A3A4"/>
          </p15:clr>
        </p15:guide>
        <p15:guide id="15" orient="horz" pos="3850">
          <p15:clr>
            <a:srgbClr val="A4A3A4"/>
          </p15:clr>
        </p15:guide>
        <p15:guide id="16" orient="horz" pos="3685">
          <p15:clr>
            <a:srgbClr val="A4A3A4"/>
          </p15:clr>
        </p15:guide>
        <p15:guide id="17" orient="horz" pos="3530">
          <p15:clr>
            <a:srgbClr val="A4A3A4"/>
          </p15:clr>
        </p15:guide>
        <p15:guide id="18" orient="horz" pos="3370">
          <p15:clr>
            <a:srgbClr val="A4A3A4"/>
          </p15:clr>
        </p15:guide>
        <p15:guide id="19" orient="horz" pos="3206">
          <p15:clr>
            <a:srgbClr val="A4A3A4"/>
          </p15:clr>
        </p15:guide>
        <p15:guide id="20" orient="horz" pos="2570">
          <p15:clr>
            <a:srgbClr val="A4A3A4"/>
          </p15:clr>
        </p15:guide>
        <p15:guide id="21" orient="horz" pos="2407">
          <p15:clr>
            <a:srgbClr val="A4A3A4"/>
          </p15:clr>
        </p15:guide>
        <p15:guide id="22" orient="horz" pos="1924">
          <p15:clr>
            <a:srgbClr val="A4A3A4"/>
          </p15:clr>
        </p15:guide>
        <p15:guide id="23" orient="horz" pos="1767">
          <p15:clr>
            <a:srgbClr val="A4A3A4"/>
          </p15:clr>
        </p15:guide>
        <p15:guide id="24" orient="horz" pos="1447">
          <p15:clr>
            <a:srgbClr val="A4A3A4"/>
          </p15:clr>
        </p15:guide>
        <p15:guide id="25" orient="horz" pos="649">
          <p15:clr>
            <a:srgbClr val="A4A3A4"/>
          </p15:clr>
        </p15:guide>
        <p15:guide id="26" orient="horz" pos="2084">
          <p15:clr>
            <a:srgbClr val="A4A3A4"/>
          </p15:clr>
        </p15:guide>
        <p15:guide id="27" orient="horz" pos="2243">
          <p15:clr>
            <a:srgbClr val="A4A3A4"/>
          </p15:clr>
        </p15:guide>
        <p15:guide id="28" pos="3840">
          <p15:clr>
            <a:srgbClr val="A4A3A4"/>
          </p15:clr>
        </p15:guide>
        <p15:guide id="29" pos="320">
          <p15:clr>
            <a:srgbClr val="A4A3A4"/>
          </p15:clr>
        </p15:guide>
        <p15:guide id="30" pos="7367">
          <p15:clr>
            <a:srgbClr val="A4A3A4"/>
          </p15:clr>
        </p15:guide>
        <p15:guide id="31" pos="7043">
          <p15:clr>
            <a:srgbClr val="A4A3A4"/>
          </p15:clr>
        </p15:guide>
        <p15:guide id="32" pos="6562">
          <p15:clr>
            <a:srgbClr val="A4A3A4"/>
          </p15:clr>
        </p15:guide>
        <p15:guide id="33">
          <p15:clr>
            <a:srgbClr val="A4A3A4"/>
          </p15:clr>
        </p15:guide>
        <p15:guide id="34" pos="6083">
          <p15:clr>
            <a:srgbClr val="A4A3A4"/>
          </p15:clr>
        </p15:guide>
        <p15:guide id="35" pos="167">
          <p15:clr>
            <a:srgbClr val="A4A3A4"/>
          </p15:clr>
        </p15:guide>
        <p15:guide id="36" pos="7520">
          <p15:clr>
            <a:srgbClr val="A4A3A4"/>
          </p15:clr>
        </p15:guide>
        <p15:guide id="37" pos="2568">
          <p15:clr>
            <a:srgbClr val="A4A3A4"/>
          </p15:clr>
        </p15:guide>
        <p15:guide id="38" pos="2406">
          <p15:clr>
            <a:srgbClr val="A4A3A4"/>
          </p15:clr>
        </p15:guide>
        <p15:guide id="39" pos="2717">
          <p15:clr>
            <a:srgbClr val="A4A3A4"/>
          </p15:clr>
        </p15:guide>
        <p15:guide id="40" pos="2884">
          <p15:clr>
            <a:srgbClr val="A4A3A4"/>
          </p15:clr>
        </p15:guide>
        <p15:guide id="41" pos="3050">
          <p15:clr>
            <a:srgbClr val="A4A3A4"/>
          </p15:clr>
        </p15:guide>
        <p15:guide id="42" pos="3204">
          <p15:clr>
            <a:srgbClr val="A4A3A4"/>
          </p15:clr>
        </p15:guide>
        <p15:guide id="43" pos="3361">
          <p15:clr>
            <a:srgbClr val="A4A3A4"/>
          </p15:clr>
        </p15:guide>
        <p15:guide id="44" pos="3528">
          <p15:clr>
            <a:srgbClr val="A4A3A4"/>
          </p15:clr>
        </p15:guide>
        <p15:guide id="45" pos="4005">
          <p15:clr>
            <a:srgbClr val="A4A3A4"/>
          </p15:clr>
        </p15:guide>
        <p15:guide id="46" pos="4159">
          <p15:clr>
            <a:srgbClr val="A4A3A4"/>
          </p15:clr>
        </p15:guide>
        <p15:guide id="47" pos="4321">
          <p15:clr>
            <a:srgbClr val="A4A3A4"/>
          </p15:clr>
        </p15:guide>
        <p15:guide id="48" pos="4483">
          <p15:clr>
            <a:srgbClr val="A4A3A4"/>
          </p15:clr>
        </p15:guide>
        <p15:guide id="49" pos="5601">
          <p15:clr>
            <a:srgbClr val="A4A3A4"/>
          </p15:clr>
        </p15:guide>
        <p15:guide id="50" pos="5763">
          <p15:clr>
            <a:srgbClr val="A4A3A4"/>
          </p15:clr>
        </p15:guide>
        <p15:guide id="51" pos="5926">
          <p15:clr>
            <a:srgbClr val="A4A3A4"/>
          </p15:clr>
        </p15:guide>
        <p15:guide id="52" pos="6246">
          <p15:clr>
            <a:srgbClr val="A4A3A4"/>
          </p15:clr>
        </p15:guide>
        <p15:guide id="53" pos="6406">
          <p15:clr>
            <a:srgbClr val="A4A3A4"/>
          </p15:clr>
        </p15:guide>
        <p15:guide id="54" pos="7203">
          <p15:clr>
            <a:srgbClr val="A4A3A4"/>
          </p15:clr>
        </p15:guide>
        <p15:guide id="55" pos="6718">
          <p15:clr>
            <a:srgbClr val="A4A3A4"/>
          </p15:clr>
        </p15:guide>
        <p15:guide id="56" pos="6884">
          <p15:clr>
            <a:srgbClr val="A4A3A4"/>
          </p15:clr>
        </p15:guide>
        <p15:guide id="57" pos="5447">
          <p15:clr>
            <a:srgbClr val="A4A3A4"/>
          </p15:clr>
        </p15:guide>
        <p15:guide id="58" pos="5282">
          <p15:clr>
            <a:srgbClr val="A4A3A4"/>
          </p15:clr>
        </p15:guide>
        <p15:guide id="59" pos="5119">
          <p15:clr>
            <a:srgbClr val="A4A3A4"/>
          </p15:clr>
        </p15:guide>
        <p15:guide id="60" pos="4961">
          <p15:clr>
            <a:srgbClr val="A4A3A4"/>
          </p15:clr>
        </p15:guide>
        <p15:guide id="61" pos="4803">
          <p15:clr>
            <a:srgbClr val="A4A3A4"/>
          </p15:clr>
        </p15:guide>
        <p15:guide id="62" pos="4637">
          <p15:clr>
            <a:srgbClr val="A4A3A4"/>
          </p15:clr>
        </p15:guide>
        <p15:guide id="63" pos="487">
          <p15:clr>
            <a:srgbClr val="A4A3A4"/>
          </p15:clr>
        </p15:guide>
        <p15:guide id="64" pos="644">
          <p15:clr>
            <a:srgbClr val="A4A3A4"/>
          </p15:clr>
        </p15:guide>
        <p15:guide id="65" pos="801">
          <p15:clr>
            <a:srgbClr val="A4A3A4"/>
          </p15:clr>
        </p15:guide>
        <p15:guide id="66" pos="967">
          <p15:clr>
            <a:srgbClr val="A4A3A4"/>
          </p15:clr>
        </p15:guide>
        <p15:guide id="67" pos="1120">
          <p15:clr>
            <a:srgbClr val="A4A3A4"/>
          </p15:clr>
        </p15:guide>
        <p15:guide id="68" pos="1281">
          <p15:clr>
            <a:srgbClr val="A4A3A4"/>
          </p15:clr>
        </p15:guide>
        <p15:guide id="69" pos="1442">
          <p15:clr>
            <a:srgbClr val="A4A3A4"/>
          </p15:clr>
        </p15:guide>
        <p15:guide id="70" pos="1609">
          <p15:clr>
            <a:srgbClr val="A4A3A4"/>
          </p15:clr>
        </p15:guide>
        <p15:guide id="71" pos="1762">
          <p15:clr>
            <a:srgbClr val="A4A3A4"/>
          </p15:clr>
        </p15:guide>
        <p15:guide id="72" pos="1924">
          <p15:clr>
            <a:srgbClr val="A4A3A4"/>
          </p15:clr>
        </p15:guide>
        <p15:guide id="73" pos="2085">
          <p15:clr>
            <a:srgbClr val="A4A3A4"/>
          </p15:clr>
        </p15:guide>
        <p15:guide id="74" pos="2244">
          <p15:clr>
            <a:srgbClr val="A4A3A4"/>
          </p15:clr>
        </p15:guide>
        <p15:guide id="75" pos="3682">
          <p15:clr>
            <a:srgbClr val="A4A3A4"/>
          </p15:clr>
        </p15:guide>
        <p15:guide id="76" orient="horz" pos="970">
          <p15:clr>
            <a:srgbClr val="A4A3A4"/>
          </p15:clr>
        </p15:guide>
        <p15:guide id="77" pos="76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2EF"/>
    <a:srgbClr val="7BD2F9"/>
    <a:srgbClr val="64CAF8"/>
    <a:srgbClr val="C1EBFB"/>
    <a:srgbClr val="F1F9FA"/>
    <a:srgbClr val="EFF6EE"/>
    <a:srgbClr val="FAF7EF"/>
    <a:srgbClr val="EFE8E6"/>
    <a:srgbClr val="E1CFEA"/>
    <a:srgbClr val="EBE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650" autoAdjust="0"/>
    <p:restoredTop sz="78268" autoAdjust="0"/>
  </p:normalViewPr>
  <p:slideViewPr>
    <p:cSldViewPr>
      <p:cViewPr varScale="1">
        <p:scale>
          <a:sx n="85" d="100"/>
          <a:sy n="85" d="100"/>
        </p:scale>
        <p:origin x="-756" y="-90"/>
      </p:cViewPr>
      <p:guideLst>
        <p:guide orient="horz" pos="325"/>
        <p:guide orient="horz" pos="4013"/>
        <p:guide orient="horz" pos="484"/>
        <p:guide orient="horz" pos="802"/>
        <p:guide orient="horz"/>
        <p:guide orient="horz" pos="164"/>
        <p:guide orient="horz" pos="4170"/>
        <p:guide orient="horz" pos="970"/>
        <p:guide orient="horz" pos="4320"/>
        <p:guide pos="3840"/>
        <p:guide pos="7367"/>
        <p:guide/>
        <p:guide pos="167"/>
        <p:guide pos="7520"/>
        <p:guide pos="5601"/>
        <p:guide pos="2085"/>
        <p:guide pos="7678"/>
      </p:guideLst>
    </p:cSldViewPr>
  </p:slideViewPr>
  <p:outlineViewPr>
    <p:cViewPr>
      <p:scale>
        <a:sx n="33" d="100"/>
        <a:sy n="33" d="100"/>
      </p:scale>
      <p:origin x="0" y="332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1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82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D9B6F-F621-4A62-84F4-5FFAE9A4C545}" type="datetimeFigureOut">
              <a:rPr lang="en-GB" smtClean="0"/>
              <a:t>09/09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6A6A2-50A7-4640-855D-8956E55ABAC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66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789E00-45B7-44B8-8E59-84DE0BD71A0D}" type="datetimeFigureOut">
              <a:rPr lang="de-DE" smtClean="0"/>
              <a:t>09.09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F3CE7-ED39-4DCA-B997-3091546AA5B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432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4413" y="515938"/>
            <a:ext cx="5600700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5588066" cy="768350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32" y="6373192"/>
            <a:ext cx="191484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302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173909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70451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0413" cy="6859588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3560763"/>
            <a:ext cx="5294312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214030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1118718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352321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273176"/>
            <a:ext cx="11187182" cy="509735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92883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540" y="766800"/>
            <a:ext cx="3063240" cy="2034540"/>
          </a:xfrm>
        </p:spPr>
        <p:txBody>
          <a:bodyPr/>
          <a:lstStyle>
            <a:lvl1pPr>
              <a:defRPr lang="en-GB" sz="4400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438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8132764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9"/>
            <a:ext cx="3054415" cy="3311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10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349" y="1273175"/>
            <a:ext cx="3943351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4300" y="1273175"/>
            <a:ext cx="3924000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8349"/>
            <a:ext cx="3054415" cy="3311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735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4821" y="260769"/>
            <a:ext cx="308834" cy="310050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31" y="1530350"/>
            <a:ext cx="5515267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4579" y="1530350"/>
            <a:ext cx="5529075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724574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0" y="2265277"/>
            <a:ext cx="5599971" cy="358442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030288"/>
            <a:ext cx="5599113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noProof="0" dirty="0"/>
              <a:t>File name | department | Autho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34206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0" y="2265277"/>
            <a:ext cx="5599971" cy="358442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7934" y="1030289"/>
            <a:ext cx="4333941" cy="2278062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333875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175" y="1030288"/>
            <a:ext cx="5849938" cy="508158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38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4841875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3"/>
            <a:ext cx="4069756" cy="1528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4" y="765498"/>
            <a:ext cx="7367653" cy="768350"/>
          </a:xfrm>
        </p:spPr>
        <p:txBody>
          <a:bodyPr/>
          <a:lstStyle>
            <a:lvl1pPr>
              <a:defRPr lang="en-GB" sz="4400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1875" y="0"/>
            <a:ext cx="7348538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32" y="6373192"/>
            <a:ext cx="205885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0" y="6010189"/>
            <a:ext cx="2034974" cy="22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40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7935" y="765498"/>
            <a:ext cx="5587272" cy="2304255"/>
          </a:xfrm>
        </p:spPr>
        <p:txBody>
          <a:bodyPr/>
          <a:lstStyle>
            <a:lvl1pPr>
              <a:defRPr lang="en-GB" sz="4400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952500"/>
            <a:ext cx="6094412" cy="59070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2"/>
            <a:ext cx="5587204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406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1" y="1530350"/>
            <a:ext cx="357553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21" y="1530350"/>
            <a:ext cx="356757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6941" y="1530350"/>
            <a:ext cx="3568237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4159537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57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2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846173"/>
            <a:ext cx="3575535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6" y="4846173"/>
            <a:ext cx="3575371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32" y="1530706"/>
            <a:ext cx="3575535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7521" y="1530706"/>
            <a:ext cx="3575371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19807" y="1530706"/>
            <a:ext cx="3575369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File name | department | Author 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4766" y="6494399"/>
            <a:ext cx="792088" cy="103747"/>
          </a:xfrm>
        </p:spPr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796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34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7519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19805" y="4581527"/>
            <a:ext cx="3575535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935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7518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6940" y="2032471"/>
            <a:ext cx="3575535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0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4766" y="6494399"/>
            <a:ext cx="792088" cy="103747"/>
          </a:xfrm>
        </p:spPr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7366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203057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2030575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43236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34830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734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1569" y="4334831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08" y="4323235"/>
            <a:ext cx="2543669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734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1569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08" y="2032472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243" y="4334831"/>
            <a:ext cx="2552368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242" y="2034000"/>
            <a:ext cx="2543669" cy="178899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 algn="r">
              <a:defRPr/>
            </a:lvl1pPr>
          </a:lstStyle>
          <a:p>
            <a:pPr algn="l"/>
            <a:fld id="{94C5268C-6958-4C27-B9A9-7B732B3052BE}" type="datetimeFigureOut">
              <a:rPr lang="en-GB" smtClean="0"/>
              <a:pPr algn="l"/>
              <a:t>09/09/2019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1"/>
            <a:ext cx="8649691" cy="768350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7934" y="515937"/>
            <a:ext cx="10672963" cy="514351"/>
          </a:xfrm>
        </p:spPr>
        <p:txBody>
          <a:bodyPr tIns="36000"/>
          <a:lstStyle>
            <a:lvl1pPr>
              <a:defRPr sz="3000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350" y="260350"/>
            <a:ext cx="558006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38503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90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0920" y="6929"/>
            <a:ext cx="4345513" cy="483924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1516"/>
            <a:ext cx="7361237" cy="685958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4763" y="3308350"/>
            <a:ext cx="4070350" cy="77152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0" y="765498"/>
            <a:ext cx="5599113" cy="76835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8" name="Rechteck 10"/>
          <p:cNvSpPr/>
          <p:nvPr userDrawn="1"/>
        </p:nvSpPr>
        <p:spPr>
          <a:xfrm>
            <a:off x="291932" y="6373192"/>
            <a:ext cx="2058858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0" y="6010189"/>
            <a:ext cx="2034974" cy="22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169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766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1070298"/>
            <a:ext cx="7877240" cy="1711424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4213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745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4841875" cy="6859587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1876" y="6929"/>
            <a:ext cx="3805237" cy="5343524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054350"/>
            <a:ext cx="4069756" cy="76676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5498"/>
            <a:ext cx="7877240" cy="76835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0045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8"/>
            <a:ext cx="1651000" cy="5842775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349" y="1030288"/>
            <a:ext cx="8132763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7935" y="768350"/>
            <a:ext cx="3054416" cy="64522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134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8"/>
            <a:ext cx="5087094" cy="5842775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417320"/>
            <a:ext cx="7104724" cy="4953205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5" y="1"/>
            <a:ext cx="7618478" cy="2925738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500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0700" y="1530705"/>
            <a:ext cx="6589712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7934" y="1"/>
            <a:ext cx="7618479" cy="2925737"/>
          </a:xfrm>
        </p:spPr>
        <p:txBody>
          <a:bodyPr tIns="198000"/>
          <a:lstStyle>
            <a:lvl1pPr>
              <a:defRPr sz="4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44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700"/>
            <a:ext cx="5600700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699" y="2552700"/>
            <a:ext cx="6094478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2"/>
            <a:ext cx="4333875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l">
              <a:defRPr/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984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40780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7934" y="261939"/>
            <a:ext cx="10672963" cy="768350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7935" y="6376523"/>
            <a:ext cx="2418919" cy="11787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0896" y="6493949"/>
            <a:ext cx="514281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00" y="6494400"/>
            <a:ext cx="184319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 </a:t>
            </a:r>
            <a:r>
              <a:rPr lang="en-GB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hnology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599" y="1274399"/>
            <a:ext cx="11188800" cy="4837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2134766" y="6494399"/>
            <a:ext cx="792088" cy="1231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4C5268C-6958-4C27-B9A9-7B732B3052BE}" type="datetimeFigureOut">
              <a:rPr lang="en-GB" smtClean="0"/>
              <a:pPr/>
              <a:t>09/09/2019</a:t>
            </a:fld>
            <a:endParaRPr lang="en-GB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6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4" r:id="rId2"/>
    <p:sldLayoutId id="2147483740" r:id="rId3"/>
    <p:sldLayoutId id="2147483702" r:id="rId4"/>
    <p:sldLayoutId id="2147483771" r:id="rId5"/>
    <p:sldLayoutId id="2147483706" r:id="rId6"/>
    <p:sldLayoutId id="2147483708" r:id="rId7"/>
    <p:sldLayoutId id="2147483710" r:id="rId8"/>
    <p:sldLayoutId id="2147483714" r:id="rId9"/>
    <p:sldLayoutId id="2147483716" r:id="rId10"/>
    <p:sldLayoutId id="2147483745" r:id="rId11"/>
    <p:sldLayoutId id="2147483768" r:id="rId12"/>
    <p:sldLayoutId id="2147483769" r:id="rId13"/>
    <p:sldLayoutId id="2147483762" r:id="rId14"/>
    <p:sldLayoutId id="2147483770" r:id="rId15"/>
    <p:sldLayoutId id="2147483766" r:id="rId16"/>
    <p:sldLayoutId id="2147483739" r:id="rId17"/>
    <p:sldLayoutId id="2147483719" r:id="rId18"/>
    <p:sldLayoutId id="2147483767" r:id="rId19"/>
    <p:sldLayoutId id="2147483748" r:id="rId20"/>
    <p:sldLayoutId id="2147483724" r:id="rId21"/>
    <p:sldLayoutId id="2147483725" r:id="rId22"/>
    <p:sldLayoutId id="2147483726" r:id="rId23"/>
    <p:sldLayoutId id="2147483729" r:id="rId24"/>
    <p:sldLayoutId id="2147483742" r:id="rId25"/>
    <p:sldLayoutId id="2147483733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09/09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llianz Neo" pitchFamily="34" charset="0"/>
              </a:rPr>
              <a:t>Solution Overvie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1656184" cy="453183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OE List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pic>
        <p:nvPicPr>
          <p:cNvPr id="5122" name="Picture 2" descr="Image result for Germany round fla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94" t="12208" r="19394" b="7191"/>
          <a:stretch/>
        </p:blipFill>
        <p:spPr bwMode="auto">
          <a:xfrm>
            <a:off x="4283614" y="2493690"/>
            <a:ext cx="1113544" cy="110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UK round fla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672" y="2553049"/>
            <a:ext cx="917780" cy="91778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Image result for us round fla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25" r="14725"/>
          <a:stretch/>
        </p:blipFill>
        <p:spPr bwMode="auto">
          <a:xfrm>
            <a:off x="7466678" y="2488037"/>
            <a:ext cx="1008134" cy="1072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8175622" y="7220228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123" name="TextBox 122"/>
          <p:cNvSpPr txBox="1"/>
          <p:nvPr/>
        </p:nvSpPr>
        <p:spPr>
          <a:xfrm>
            <a:off x="3599254" y="1773745"/>
            <a:ext cx="537627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</a:t>
            </a:r>
            <a:endParaRPr lang="en-GB" sz="15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371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28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"/>
                            </p:stCondLst>
                            <p:childTnLst>
                              <p:par>
                                <p:cTn id="33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00"/>
                            </p:stCondLst>
                            <p:childTnLst>
                              <p:par>
                                <p:cTn id="4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51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09/09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llianz Neo" pitchFamily="34" charset="0"/>
              </a:rPr>
              <a:t>Solution Overvie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1656184" cy="453183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Portfolio view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81476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5"/>
            <a:ext cx="537627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  <a:endParaRPr lang="en-GB" sz="15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Flowchart: Multidocument 3"/>
          <p:cNvSpPr/>
          <p:nvPr/>
        </p:nvSpPr>
        <p:spPr>
          <a:xfrm>
            <a:off x="4583038" y="2709714"/>
            <a:ext cx="1152128" cy="936104"/>
          </a:xfrm>
          <a:prstGeom prst="flowChartMultidocumen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122" name="Flowchart: Multidocument 121"/>
          <p:cNvSpPr/>
          <p:nvPr/>
        </p:nvSpPr>
        <p:spPr>
          <a:xfrm>
            <a:off x="6892937" y="4121770"/>
            <a:ext cx="1152128" cy="936104"/>
          </a:xfrm>
          <a:prstGeom prst="flowChartMultidocument">
            <a:avLst/>
          </a:prstGeom>
          <a:solidFill>
            <a:srgbClr val="F9F2E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>
              <a:solidFill>
                <a:srgbClr val="CAD4D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427171" y="3645818"/>
            <a:ext cx="1090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ABS Projects</a:t>
            </a:r>
            <a:endParaRPr lang="en-GB" sz="1200" dirty="0"/>
          </a:p>
        </p:txBody>
      </p:sp>
      <p:sp>
        <p:nvSpPr>
          <p:cNvPr id="124" name="Rectangle 123"/>
          <p:cNvSpPr/>
          <p:nvPr/>
        </p:nvSpPr>
        <p:spPr>
          <a:xfrm>
            <a:off x="6887294" y="3645818"/>
            <a:ext cx="779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CAD4DE"/>
                </a:solidFill>
              </a:rPr>
              <a:t>Disabled</a:t>
            </a:r>
            <a:endParaRPr lang="en-GB" sz="1200" dirty="0">
              <a:solidFill>
                <a:srgbClr val="CAD4DE"/>
              </a:solidFill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6892937" y="5096453"/>
            <a:ext cx="779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CAD4DE"/>
                </a:solidFill>
              </a:rPr>
              <a:t>Disabled</a:t>
            </a:r>
            <a:endParaRPr lang="en-GB" sz="1200" dirty="0">
              <a:solidFill>
                <a:srgbClr val="CAD4DE"/>
              </a:solidFill>
            </a:endParaRPr>
          </a:p>
        </p:txBody>
      </p:sp>
      <p:sp>
        <p:nvSpPr>
          <p:cNvPr id="141" name="Flowchart: Multidocument 140"/>
          <p:cNvSpPr/>
          <p:nvPr/>
        </p:nvSpPr>
        <p:spPr>
          <a:xfrm>
            <a:off x="4445341" y="4137650"/>
            <a:ext cx="1152128" cy="936104"/>
          </a:xfrm>
          <a:prstGeom prst="flowChartMultidocument">
            <a:avLst/>
          </a:prstGeom>
          <a:solidFill>
            <a:srgbClr val="F9F2E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>
              <a:solidFill>
                <a:srgbClr val="CAD4DE"/>
              </a:solidFill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4445341" y="5166937"/>
            <a:ext cx="779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CAD4DE"/>
                </a:solidFill>
              </a:rPr>
              <a:t>Disabled</a:t>
            </a:r>
            <a:endParaRPr lang="en-GB" sz="1200" dirty="0">
              <a:solidFill>
                <a:srgbClr val="CAD4DE"/>
              </a:solidFill>
            </a:endParaRPr>
          </a:p>
        </p:txBody>
      </p:sp>
      <p:sp>
        <p:nvSpPr>
          <p:cNvPr id="142" name="Flowchart: Multidocument 141"/>
          <p:cNvSpPr/>
          <p:nvPr/>
        </p:nvSpPr>
        <p:spPr>
          <a:xfrm>
            <a:off x="6914178" y="2672834"/>
            <a:ext cx="1152128" cy="936104"/>
          </a:xfrm>
          <a:prstGeom prst="flowChartMultidocument">
            <a:avLst/>
          </a:prstGeom>
          <a:solidFill>
            <a:srgbClr val="F9F2E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>
              <a:solidFill>
                <a:srgbClr val="CAD4DE"/>
              </a:solidFill>
            </a:endParaRPr>
          </a:p>
        </p:txBody>
      </p:sp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8175622" y="7220228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3370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09/09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llianz Neo" pitchFamily="34" charset="0"/>
              </a:rPr>
              <a:t>Solution Overvie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1656184" cy="453183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Project view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4" name="Flowchart: Multidocument 3"/>
          <p:cNvSpPr/>
          <p:nvPr/>
        </p:nvSpPr>
        <p:spPr>
          <a:xfrm>
            <a:off x="4583038" y="2709714"/>
            <a:ext cx="1152128" cy="936104"/>
          </a:xfrm>
          <a:prstGeom prst="flowChartMultidocument">
            <a:avLst/>
          </a:prstGeom>
          <a:solidFill>
            <a:srgbClr val="0070C0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4427171" y="3645818"/>
            <a:ext cx="5950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ABBS</a:t>
            </a:r>
            <a:endParaRPr lang="en-GB" sz="1200" dirty="0"/>
          </a:p>
        </p:txBody>
      </p:sp>
      <p:sp>
        <p:nvSpPr>
          <p:cNvPr id="128" name="Flowchart: Multidocument 127"/>
          <p:cNvSpPr/>
          <p:nvPr/>
        </p:nvSpPr>
        <p:spPr>
          <a:xfrm>
            <a:off x="6892937" y="4121770"/>
            <a:ext cx="1152128" cy="936104"/>
          </a:xfrm>
          <a:prstGeom prst="flowChartMultidocument">
            <a:avLst/>
          </a:prstGeom>
          <a:solidFill>
            <a:srgbClr val="F9F2E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>
              <a:solidFill>
                <a:srgbClr val="CAD4DE"/>
              </a:solidFill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6887294" y="3645818"/>
            <a:ext cx="779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CAD4DE"/>
                </a:solidFill>
              </a:rPr>
              <a:t>Disabled</a:t>
            </a:r>
            <a:endParaRPr lang="en-GB" sz="1200" dirty="0">
              <a:solidFill>
                <a:srgbClr val="CAD4DE"/>
              </a:solidFill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6892937" y="5096453"/>
            <a:ext cx="779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CAD4DE"/>
                </a:solidFill>
              </a:rPr>
              <a:t>Disabled</a:t>
            </a:r>
            <a:endParaRPr lang="en-GB" sz="1200" dirty="0">
              <a:solidFill>
                <a:srgbClr val="CAD4DE"/>
              </a:solidFill>
            </a:endParaRPr>
          </a:p>
        </p:txBody>
      </p:sp>
      <p:sp>
        <p:nvSpPr>
          <p:cNvPr id="132" name="Flowchart: Multidocument 131"/>
          <p:cNvSpPr/>
          <p:nvPr/>
        </p:nvSpPr>
        <p:spPr>
          <a:xfrm>
            <a:off x="4445341" y="4137650"/>
            <a:ext cx="1152128" cy="936104"/>
          </a:xfrm>
          <a:prstGeom prst="flowChartMultidocument">
            <a:avLst/>
          </a:prstGeom>
          <a:solidFill>
            <a:srgbClr val="F9F2E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>
              <a:solidFill>
                <a:srgbClr val="CAD4DE"/>
              </a:solidFill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4445341" y="5166937"/>
            <a:ext cx="779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>
                <a:solidFill>
                  <a:srgbClr val="CAD4DE"/>
                </a:solidFill>
              </a:rPr>
              <a:t>Disabled</a:t>
            </a:r>
            <a:endParaRPr lang="en-GB" sz="1200" dirty="0">
              <a:solidFill>
                <a:srgbClr val="CAD4DE"/>
              </a:solidFill>
            </a:endParaRPr>
          </a:p>
        </p:txBody>
      </p:sp>
      <p:sp>
        <p:nvSpPr>
          <p:cNvPr id="133" name="Flowchart: Multidocument 132"/>
          <p:cNvSpPr/>
          <p:nvPr/>
        </p:nvSpPr>
        <p:spPr>
          <a:xfrm>
            <a:off x="6914178" y="2672834"/>
            <a:ext cx="1152128" cy="936104"/>
          </a:xfrm>
          <a:prstGeom prst="flowChartMultidocument">
            <a:avLst/>
          </a:prstGeom>
          <a:solidFill>
            <a:srgbClr val="F9F2EF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>
              <a:solidFill>
                <a:srgbClr val="CAD4DE"/>
              </a:solidFill>
            </a:endParaRPr>
          </a:p>
        </p:txBody>
      </p:sp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8175622" y="7220228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141" name="TextBox 140"/>
          <p:cNvSpPr txBox="1"/>
          <p:nvPr/>
        </p:nvSpPr>
        <p:spPr>
          <a:xfrm>
            <a:off x="3599254" y="1773745"/>
            <a:ext cx="537627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  <a:endParaRPr lang="en-GB" sz="15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94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09/09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llianz Neo" pitchFamily="34" charset="0"/>
              </a:rPr>
              <a:t>ABBS DASHBOARD :: Data sourcing</a:t>
            </a:r>
            <a:endParaRPr lang="en-US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Service Package 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level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4"/>
            <a:ext cx="523225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5" t="1875" r="6030" b="19537"/>
          <a:stretch/>
        </p:blipFill>
        <p:spPr bwMode="auto">
          <a:xfrm>
            <a:off x="3549526" y="2061642"/>
            <a:ext cx="5472608" cy="3318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642" y="3300095"/>
            <a:ext cx="5145700" cy="1373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3790083" y="4680269"/>
            <a:ext cx="5176238" cy="1060132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3810124" y="2326218"/>
            <a:ext cx="1197676" cy="17426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ABBS :: Data Sourcing</a:t>
            </a:r>
            <a:endParaRPr lang="de-DE" sz="800" dirty="0" smtClean="0">
              <a:latin typeface="Segoe UI Emoji" panose="020B0502040204020203" pitchFamily="34" charset="0"/>
              <a:ea typeface="Segoe UI Emoj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4820749" y="2061873"/>
            <a:ext cx="2567326" cy="15685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ABBS </a:t>
            </a:r>
            <a:r>
              <a:rPr lang="en-GB" sz="800" dirty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:: </a:t>
            </a: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Service Package Dashboard :: </a:t>
            </a:r>
            <a:r>
              <a:rPr lang="en-GB" sz="800" dirty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Data </a:t>
            </a: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Sourcing</a:t>
            </a:r>
            <a:endParaRPr lang="de-DE" sz="800" dirty="0" smtClean="0">
              <a:latin typeface="Segoe UI Emoji" panose="020B0502040204020203" pitchFamily="34" charset="0"/>
              <a:ea typeface="Segoe UI Emoj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3790083" y="4417002"/>
            <a:ext cx="742950" cy="206797"/>
          </a:xfrm>
          <a:prstGeom prst="rect">
            <a:avLst/>
          </a:prstGeom>
          <a:noFill/>
          <a:ln w="28575">
            <a:solidFill>
              <a:srgbClr val="E4003A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pic>
        <p:nvPicPr>
          <p:cNvPr id="124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3" t="57616" r="5802" b="27729"/>
          <a:stretch/>
        </p:blipFill>
        <p:spPr bwMode="auto">
          <a:xfrm>
            <a:off x="3705558" y="4785931"/>
            <a:ext cx="5328592" cy="950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5" name="Group 239"/>
          <p:cNvGrpSpPr>
            <a:grpSpLocks/>
          </p:cNvGrpSpPr>
          <p:nvPr/>
        </p:nvGrpSpPr>
        <p:grpSpPr bwMode="auto">
          <a:xfrm>
            <a:off x="7174764" y="9088836"/>
            <a:ext cx="3659314" cy="4877929"/>
            <a:chOff x="96" y="1859"/>
            <a:chExt cx="2136" cy="2350"/>
          </a:xfrm>
        </p:grpSpPr>
        <p:sp>
          <p:nvSpPr>
            <p:cNvPr id="136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139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138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1207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96296E-6 L -0.2918 -0.7081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596" y="-354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135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00"/>
                            </p:stCondLst>
                            <p:childTnLst>
                              <p:par>
                                <p:cTn id="2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1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1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23" grpId="0" animBg="1"/>
      <p:bldP spid="123" grpId="1" animBg="1"/>
      <p:bldP spid="123" grpId="2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09/09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llianz Neo" pitchFamily="34" charset="0"/>
              </a:rPr>
              <a:t>ABBS :: Data sourcing :: PMS</a:t>
            </a:r>
            <a:endParaRPr lang="en-US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Service Record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level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4"/>
            <a:ext cx="523225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5" t="1552" r="6251" b="20833"/>
          <a:stretch/>
        </p:blipFill>
        <p:spPr bwMode="auto">
          <a:xfrm>
            <a:off x="3549525" y="2061642"/>
            <a:ext cx="5492875" cy="3234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00" name="Table 1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607806"/>
              </p:ext>
            </p:extLst>
          </p:nvPr>
        </p:nvGraphicFramePr>
        <p:xfrm>
          <a:off x="3862958" y="5302002"/>
          <a:ext cx="511256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4522"/>
                <a:gridCol w="818480"/>
                <a:gridCol w="1370564"/>
                <a:gridCol w="748882"/>
                <a:gridCol w="1080120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Service Record1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Owner(IT)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Owner(Business)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Service</a:t>
                      </a:r>
                      <a:r>
                        <a:rPr lang="en-GB" sz="1100" b="0" baseline="0" dirty="0" smtClean="0">
                          <a:solidFill>
                            <a:schemeClr val="tx2"/>
                          </a:solidFill>
                        </a:rPr>
                        <a:t> Owner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dirty="0" smtClean="0">
                          <a:solidFill>
                            <a:schemeClr val="tx2"/>
                          </a:solidFill>
                        </a:rPr>
                        <a:t>Documents</a:t>
                      </a:r>
                      <a:endParaRPr lang="en-GB" sz="1100" b="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AD4DE"/>
                    </a:solidFill>
                  </a:tcPr>
                </a:tc>
              </a:tr>
            </a:tbl>
          </a:graphicData>
        </a:graphic>
      </p:graphicFrame>
      <p:grpSp>
        <p:nvGrpSpPr>
          <p:cNvPr id="201" name="Group 239"/>
          <p:cNvGrpSpPr>
            <a:grpSpLocks/>
          </p:cNvGrpSpPr>
          <p:nvPr/>
        </p:nvGrpSpPr>
        <p:grpSpPr bwMode="auto">
          <a:xfrm>
            <a:off x="10703718" y="6859588"/>
            <a:ext cx="3659314" cy="4877929"/>
            <a:chOff x="96" y="1859"/>
            <a:chExt cx="2136" cy="2350"/>
          </a:xfrm>
        </p:grpSpPr>
        <p:sp>
          <p:nvSpPr>
            <p:cNvPr id="202" name="Freeform 240"/>
            <p:cNvSpPr>
              <a:spLocks/>
            </p:cNvSpPr>
            <p:nvPr/>
          </p:nvSpPr>
          <p:spPr bwMode="auto">
            <a:xfrm>
              <a:off x="96" y="1859"/>
              <a:ext cx="2136" cy="2269"/>
            </a:xfrm>
            <a:custGeom>
              <a:avLst/>
              <a:gdLst>
                <a:gd name="T0" fmla="*/ 2136 w 2136"/>
                <a:gd name="T1" fmla="*/ 2253 h 2269"/>
                <a:gd name="T2" fmla="*/ 1992 w 2136"/>
                <a:gd name="T3" fmla="*/ 1797 h 2269"/>
                <a:gd name="T4" fmla="*/ 1712 w 2136"/>
                <a:gd name="T5" fmla="*/ 1709 h 2269"/>
                <a:gd name="T6" fmla="*/ 1488 w 2136"/>
                <a:gd name="T7" fmla="*/ 1501 h 2269"/>
                <a:gd name="T8" fmla="*/ 1240 w 2136"/>
                <a:gd name="T9" fmla="*/ 1485 h 2269"/>
                <a:gd name="T10" fmla="*/ 976 w 2136"/>
                <a:gd name="T11" fmla="*/ 1333 h 2269"/>
                <a:gd name="T12" fmla="*/ 752 w 2136"/>
                <a:gd name="T13" fmla="*/ 1333 h 2269"/>
                <a:gd name="T14" fmla="*/ 680 w 2136"/>
                <a:gd name="T15" fmla="*/ 1405 h 2269"/>
                <a:gd name="T16" fmla="*/ 504 w 2136"/>
                <a:gd name="T17" fmla="*/ 1165 h 2269"/>
                <a:gd name="T18" fmla="*/ 480 w 2136"/>
                <a:gd name="T19" fmla="*/ 813 h 2269"/>
                <a:gd name="T20" fmla="*/ 392 w 2136"/>
                <a:gd name="T21" fmla="*/ 573 h 2269"/>
                <a:gd name="T22" fmla="*/ 400 w 2136"/>
                <a:gd name="T23" fmla="*/ 349 h 2269"/>
                <a:gd name="T24" fmla="*/ 304 w 2136"/>
                <a:gd name="T25" fmla="*/ 53 h 2269"/>
                <a:gd name="T26" fmla="*/ 152 w 2136"/>
                <a:gd name="T27" fmla="*/ 29 h 2269"/>
                <a:gd name="T28" fmla="*/ 48 w 2136"/>
                <a:gd name="T29" fmla="*/ 165 h 2269"/>
                <a:gd name="T30" fmla="*/ 8 w 2136"/>
                <a:gd name="T31" fmla="*/ 813 h 2269"/>
                <a:gd name="T32" fmla="*/ 96 w 2136"/>
                <a:gd name="T33" fmla="*/ 1349 h 2269"/>
                <a:gd name="T34" fmla="*/ 144 w 2136"/>
                <a:gd name="T35" fmla="*/ 1885 h 2269"/>
                <a:gd name="T36" fmla="*/ 144 w 2136"/>
                <a:gd name="T37" fmla="*/ 2269 h 2269"/>
                <a:gd name="T38" fmla="*/ 2136 w 2136"/>
                <a:gd name="T39" fmla="*/ 2253 h 2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36" h="2269">
                  <a:moveTo>
                    <a:pt x="2136" y="2253"/>
                  </a:moveTo>
                  <a:cubicBezTo>
                    <a:pt x="2099" y="2070"/>
                    <a:pt x="2063" y="1888"/>
                    <a:pt x="1992" y="1797"/>
                  </a:cubicBezTo>
                  <a:cubicBezTo>
                    <a:pt x="1921" y="1706"/>
                    <a:pt x="1796" y="1758"/>
                    <a:pt x="1712" y="1709"/>
                  </a:cubicBezTo>
                  <a:cubicBezTo>
                    <a:pt x="1628" y="1660"/>
                    <a:pt x="1567" y="1538"/>
                    <a:pt x="1488" y="1501"/>
                  </a:cubicBezTo>
                  <a:cubicBezTo>
                    <a:pt x="1409" y="1464"/>
                    <a:pt x="1325" y="1513"/>
                    <a:pt x="1240" y="1485"/>
                  </a:cubicBezTo>
                  <a:cubicBezTo>
                    <a:pt x="1155" y="1457"/>
                    <a:pt x="1057" y="1358"/>
                    <a:pt x="976" y="1333"/>
                  </a:cubicBezTo>
                  <a:cubicBezTo>
                    <a:pt x="895" y="1308"/>
                    <a:pt x="801" y="1321"/>
                    <a:pt x="752" y="1333"/>
                  </a:cubicBezTo>
                  <a:cubicBezTo>
                    <a:pt x="703" y="1345"/>
                    <a:pt x="721" y="1433"/>
                    <a:pt x="680" y="1405"/>
                  </a:cubicBezTo>
                  <a:cubicBezTo>
                    <a:pt x="639" y="1377"/>
                    <a:pt x="537" y="1264"/>
                    <a:pt x="504" y="1165"/>
                  </a:cubicBezTo>
                  <a:cubicBezTo>
                    <a:pt x="471" y="1066"/>
                    <a:pt x="499" y="912"/>
                    <a:pt x="480" y="813"/>
                  </a:cubicBezTo>
                  <a:cubicBezTo>
                    <a:pt x="461" y="714"/>
                    <a:pt x="405" y="650"/>
                    <a:pt x="392" y="573"/>
                  </a:cubicBezTo>
                  <a:cubicBezTo>
                    <a:pt x="379" y="496"/>
                    <a:pt x="415" y="436"/>
                    <a:pt x="400" y="349"/>
                  </a:cubicBezTo>
                  <a:cubicBezTo>
                    <a:pt x="385" y="262"/>
                    <a:pt x="345" y="106"/>
                    <a:pt x="304" y="53"/>
                  </a:cubicBezTo>
                  <a:cubicBezTo>
                    <a:pt x="263" y="0"/>
                    <a:pt x="195" y="10"/>
                    <a:pt x="152" y="29"/>
                  </a:cubicBezTo>
                  <a:cubicBezTo>
                    <a:pt x="109" y="48"/>
                    <a:pt x="72" y="34"/>
                    <a:pt x="48" y="165"/>
                  </a:cubicBezTo>
                  <a:cubicBezTo>
                    <a:pt x="24" y="296"/>
                    <a:pt x="0" y="616"/>
                    <a:pt x="8" y="813"/>
                  </a:cubicBezTo>
                  <a:cubicBezTo>
                    <a:pt x="16" y="1010"/>
                    <a:pt x="73" y="1170"/>
                    <a:pt x="96" y="1349"/>
                  </a:cubicBezTo>
                  <a:cubicBezTo>
                    <a:pt x="119" y="1528"/>
                    <a:pt x="136" y="1732"/>
                    <a:pt x="144" y="1885"/>
                  </a:cubicBezTo>
                  <a:cubicBezTo>
                    <a:pt x="152" y="2038"/>
                    <a:pt x="144" y="2205"/>
                    <a:pt x="144" y="2269"/>
                  </a:cubicBezTo>
                  <a:cubicBezTo>
                    <a:pt x="144" y="2269"/>
                    <a:pt x="2136" y="2253"/>
                    <a:pt x="2136" y="2253"/>
                  </a:cubicBezTo>
                  <a:close/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203" name="Group 241"/>
            <p:cNvGrpSpPr>
              <a:grpSpLocks/>
            </p:cNvGrpSpPr>
            <p:nvPr/>
          </p:nvGrpSpPr>
          <p:grpSpPr bwMode="auto">
            <a:xfrm>
              <a:off x="159" y="1880"/>
              <a:ext cx="1865" cy="2329"/>
              <a:chOff x="159" y="1880"/>
              <a:chExt cx="1865" cy="2329"/>
            </a:xfrm>
          </p:grpSpPr>
          <p:sp>
            <p:nvSpPr>
              <p:cNvPr id="205" name="Freeform 242"/>
              <p:cNvSpPr>
                <a:spLocks/>
              </p:cNvSpPr>
              <p:nvPr/>
            </p:nvSpPr>
            <p:spPr bwMode="auto">
              <a:xfrm>
                <a:off x="284" y="2599"/>
                <a:ext cx="1740" cy="1610"/>
              </a:xfrm>
              <a:custGeom>
                <a:avLst/>
                <a:gdLst>
                  <a:gd name="T0" fmla="*/ 908 w 1740"/>
                  <a:gd name="T1" fmla="*/ 1513 h 1610"/>
                  <a:gd name="T2" fmla="*/ 876 w 1740"/>
                  <a:gd name="T3" fmla="*/ 1049 h 1610"/>
                  <a:gd name="T4" fmla="*/ 1012 w 1740"/>
                  <a:gd name="T5" fmla="*/ 1217 h 1610"/>
                  <a:gd name="T6" fmla="*/ 1012 w 1740"/>
                  <a:gd name="T7" fmla="*/ 1545 h 1610"/>
                  <a:gd name="T8" fmla="*/ 1228 w 1740"/>
                  <a:gd name="T9" fmla="*/ 1545 h 1610"/>
                  <a:gd name="T10" fmla="*/ 1356 w 1740"/>
                  <a:gd name="T11" fmla="*/ 1153 h 1610"/>
                  <a:gd name="T12" fmla="*/ 1548 w 1740"/>
                  <a:gd name="T13" fmla="*/ 1329 h 1610"/>
                  <a:gd name="T14" fmla="*/ 1636 w 1740"/>
                  <a:gd name="T15" fmla="*/ 1177 h 1610"/>
                  <a:gd name="T16" fmla="*/ 1732 w 1740"/>
                  <a:gd name="T17" fmla="*/ 1113 h 1610"/>
                  <a:gd name="T18" fmla="*/ 1588 w 1740"/>
                  <a:gd name="T19" fmla="*/ 1113 h 1610"/>
                  <a:gd name="T20" fmla="*/ 1546 w 1740"/>
                  <a:gd name="T21" fmla="*/ 1328 h 1610"/>
                  <a:gd name="T22" fmla="*/ 1357 w 1740"/>
                  <a:gd name="T23" fmla="*/ 1151 h 1610"/>
                  <a:gd name="T24" fmla="*/ 1372 w 1740"/>
                  <a:gd name="T25" fmla="*/ 905 h 1610"/>
                  <a:gd name="T26" fmla="*/ 1188 w 1740"/>
                  <a:gd name="T27" fmla="*/ 801 h 1610"/>
                  <a:gd name="T28" fmla="*/ 1084 w 1740"/>
                  <a:gd name="T29" fmla="*/ 1025 h 1610"/>
                  <a:gd name="T30" fmla="*/ 796 w 1740"/>
                  <a:gd name="T31" fmla="*/ 673 h 1610"/>
                  <a:gd name="T32" fmla="*/ 564 w 1740"/>
                  <a:gd name="T33" fmla="*/ 697 h 1610"/>
                  <a:gd name="T34" fmla="*/ 412 w 1740"/>
                  <a:gd name="T35" fmla="*/ 889 h 1610"/>
                  <a:gd name="T36" fmla="*/ 196 w 1740"/>
                  <a:gd name="T37" fmla="*/ 745 h 1610"/>
                  <a:gd name="T38" fmla="*/ 164 w 1740"/>
                  <a:gd name="T39" fmla="*/ 353 h 1610"/>
                  <a:gd name="T40" fmla="*/ 100 w 1740"/>
                  <a:gd name="T41" fmla="*/ 25 h 1610"/>
                  <a:gd name="T42" fmla="*/ 84 w 1740"/>
                  <a:gd name="T43" fmla="*/ 201 h 1610"/>
                  <a:gd name="T44" fmla="*/ 84 w 1740"/>
                  <a:gd name="T45" fmla="*/ 793 h 1610"/>
                  <a:gd name="T46" fmla="*/ 12 w 1740"/>
                  <a:gd name="T47" fmla="*/ 1321 h 1610"/>
                  <a:gd name="T48" fmla="*/ 12 w 1740"/>
                  <a:gd name="T49" fmla="*/ 1569 h 1610"/>
                  <a:gd name="T50" fmla="*/ 908 w 1740"/>
                  <a:gd name="T51" fmla="*/ 1513 h 161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740" h="1610">
                    <a:moveTo>
                      <a:pt x="908" y="1513"/>
                    </a:moveTo>
                    <a:cubicBezTo>
                      <a:pt x="883" y="1305"/>
                      <a:pt x="859" y="1098"/>
                      <a:pt x="876" y="1049"/>
                    </a:cubicBezTo>
                    <a:cubicBezTo>
                      <a:pt x="893" y="1000"/>
                      <a:pt x="989" y="1134"/>
                      <a:pt x="1012" y="1217"/>
                    </a:cubicBezTo>
                    <a:cubicBezTo>
                      <a:pt x="1035" y="1300"/>
                      <a:pt x="976" y="1490"/>
                      <a:pt x="1012" y="1545"/>
                    </a:cubicBezTo>
                    <a:cubicBezTo>
                      <a:pt x="1048" y="1600"/>
                      <a:pt x="1171" y="1610"/>
                      <a:pt x="1228" y="1545"/>
                    </a:cubicBezTo>
                    <a:cubicBezTo>
                      <a:pt x="1285" y="1480"/>
                      <a:pt x="1303" y="1189"/>
                      <a:pt x="1356" y="1153"/>
                    </a:cubicBezTo>
                    <a:lnTo>
                      <a:pt x="1548" y="1329"/>
                    </a:lnTo>
                    <a:cubicBezTo>
                      <a:pt x="1595" y="1333"/>
                      <a:pt x="1605" y="1213"/>
                      <a:pt x="1636" y="1177"/>
                    </a:cubicBezTo>
                    <a:cubicBezTo>
                      <a:pt x="1667" y="1141"/>
                      <a:pt x="1740" y="1124"/>
                      <a:pt x="1732" y="1113"/>
                    </a:cubicBezTo>
                    <a:cubicBezTo>
                      <a:pt x="1724" y="1102"/>
                      <a:pt x="1619" y="1077"/>
                      <a:pt x="1588" y="1113"/>
                    </a:cubicBezTo>
                    <a:cubicBezTo>
                      <a:pt x="1557" y="1149"/>
                      <a:pt x="1584" y="1322"/>
                      <a:pt x="1546" y="1328"/>
                    </a:cubicBezTo>
                    <a:lnTo>
                      <a:pt x="1357" y="1151"/>
                    </a:lnTo>
                    <a:cubicBezTo>
                      <a:pt x="1328" y="1081"/>
                      <a:pt x="1400" y="963"/>
                      <a:pt x="1372" y="905"/>
                    </a:cubicBezTo>
                    <a:cubicBezTo>
                      <a:pt x="1344" y="847"/>
                      <a:pt x="1236" y="781"/>
                      <a:pt x="1188" y="801"/>
                    </a:cubicBezTo>
                    <a:cubicBezTo>
                      <a:pt x="1140" y="821"/>
                      <a:pt x="1149" y="1046"/>
                      <a:pt x="1084" y="1025"/>
                    </a:cubicBezTo>
                    <a:cubicBezTo>
                      <a:pt x="1019" y="1004"/>
                      <a:pt x="883" y="728"/>
                      <a:pt x="796" y="673"/>
                    </a:cubicBezTo>
                    <a:cubicBezTo>
                      <a:pt x="709" y="618"/>
                      <a:pt x="628" y="661"/>
                      <a:pt x="564" y="697"/>
                    </a:cubicBezTo>
                    <a:cubicBezTo>
                      <a:pt x="500" y="733"/>
                      <a:pt x="473" y="881"/>
                      <a:pt x="412" y="889"/>
                    </a:cubicBezTo>
                    <a:cubicBezTo>
                      <a:pt x="351" y="897"/>
                      <a:pt x="237" y="834"/>
                      <a:pt x="196" y="745"/>
                    </a:cubicBezTo>
                    <a:cubicBezTo>
                      <a:pt x="155" y="656"/>
                      <a:pt x="180" y="473"/>
                      <a:pt x="164" y="353"/>
                    </a:cubicBezTo>
                    <a:cubicBezTo>
                      <a:pt x="148" y="233"/>
                      <a:pt x="113" y="50"/>
                      <a:pt x="100" y="25"/>
                    </a:cubicBezTo>
                    <a:cubicBezTo>
                      <a:pt x="87" y="0"/>
                      <a:pt x="87" y="73"/>
                      <a:pt x="84" y="201"/>
                    </a:cubicBezTo>
                    <a:cubicBezTo>
                      <a:pt x="81" y="329"/>
                      <a:pt x="96" y="606"/>
                      <a:pt x="84" y="793"/>
                    </a:cubicBezTo>
                    <a:cubicBezTo>
                      <a:pt x="72" y="980"/>
                      <a:pt x="24" y="1192"/>
                      <a:pt x="12" y="1321"/>
                    </a:cubicBezTo>
                    <a:cubicBezTo>
                      <a:pt x="0" y="1450"/>
                      <a:pt x="6" y="1509"/>
                      <a:pt x="12" y="1569"/>
                    </a:cubicBezTo>
                    <a:cubicBezTo>
                      <a:pt x="12" y="1569"/>
                      <a:pt x="908" y="1513"/>
                      <a:pt x="908" y="1513"/>
                    </a:cubicBezTo>
                    <a:close/>
                  </a:path>
                </a:pathLst>
              </a:custGeom>
              <a:solidFill>
                <a:srgbClr val="D6A3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243"/>
              <p:cNvSpPr>
                <a:spLocks/>
              </p:cNvSpPr>
              <p:nvPr/>
            </p:nvSpPr>
            <p:spPr bwMode="auto">
              <a:xfrm>
                <a:off x="159" y="1880"/>
                <a:ext cx="268" cy="225"/>
              </a:xfrm>
              <a:custGeom>
                <a:avLst/>
                <a:gdLst>
                  <a:gd name="T0" fmla="*/ 9 w 268"/>
                  <a:gd name="T1" fmla="*/ 136 h 225"/>
                  <a:gd name="T2" fmla="*/ 129 w 268"/>
                  <a:gd name="T3" fmla="*/ 224 h 225"/>
                  <a:gd name="T4" fmla="*/ 257 w 268"/>
                  <a:gd name="T5" fmla="*/ 144 h 225"/>
                  <a:gd name="T6" fmla="*/ 193 w 268"/>
                  <a:gd name="T7" fmla="*/ 32 h 225"/>
                  <a:gd name="T8" fmla="*/ 73 w 268"/>
                  <a:gd name="T9" fmla="*/ 16 h 225"/>
                  <a:gd name="T10" fmla="*/ 9 w 268"/>
                  <a:gd name="T11" fmla="*/ 136 h 2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8" h="225">
                    <a:moveTo>
                      <a:pt x="9" y="136"/>
                    </a:moveTo>
                    <a:cubicBezTo>
                      <a:pt x="18" y="171"/>
                      <a:pt x="88" y="223"/>
                      <a:pt x="129" y="224"/>
                    </a:cubicBezTo>
                    <a:cubicBezTo>
                      <a:pt x="170" y="225"/>
                      <a:pt x="246" y="176"/>
                      <a:pt x="257" y="144"/>
                    </a:cubicBezTo>
                    <a:cubicBezTo>
                      <a:pt x="268" y="112"/>
                      <a:pt x="224" y="53"/>
                      <a:pt x="193" y="32"/>
                    </a:cubicBezTo>
                    <a:cubicBezTo>
                      <a:pt x="162" y="11"/>
                      <a:pt x="104" y="0"/>
                      <a:pt x="73" y="16"/>
                    </a:cubicBezTo>
                    <a:cubicBezTo>
                      <a:pt x="42" y="32"/>
                      <a:pt x="0" y="101"/>
                      <a:pt x="9" y="136"/>
                    </a:cubicBezTo>
                    <a:close/>
                  </a:path>
                </a:pathLst>
              </a:custGeom>
              <a:solidFill>
                <a:srgbClr val="E9BEA9"/>
              </a:solidFill>
              <a:ln w="9525" cap="flat" cmpd="sng">
                <a:solidFill>
                  <a:srgbClr val="DAAD8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204" name="Freeform 244"/>
            <p:cNvSpPr>
              <a:spLocks/>
            </p:cNvSpPr>
            <p:nvPr/>
          </p:nvSpPr>
          <p:spPr bwMode="auto">
            <a:xfrm>
              <a:off x="213" y="2432"/>
              <a:ext cx="188" cy="139"/>
            </a:xfrm>
            <a:custGeom>
              <a:avLst/>
              <a:gdLst>
                <a:gd name="T0" fmla="*/ 11 w 188"/>
                <a:gd name="T1" fmla="*/ 0 h 139"/>
                <a:gd name="T2" fmla="*/ 91 w 188"/>
                <a:gd name="T3" fmla="*/ 56 h 139"/>
                <a:gd name="T4" fmla="*/ 187 w 188"/>
                <a:gd name="T5" fmla="*/ 16 h 139"/>
                <a:gd name="T6" fmla="*/ 83 w 188"/>
                <a:gd name="T7" fmla="*/ 88 h 139"/>
                <a:gd name="T8" fmla="*/ 3 w 188"/>
                <a:gd name="T9" fmla="*/ 56 h 139"/>
                <a:gd name="T10" fmla="*/ 99 w 188"/>
                <a:gd name="T11" fmla="*/ 128 h 139"/>
                <a:gd name="T12" fmla="*/ 147 w 188"/>
                <a:gd name="T13" fmla="*/ 120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8" h="139">
                  <a:moveTo>
                    <a:pt x="11" y="0"/>
                  </a:moveTo>
                  <a:cubicBezTo>
                    <a:pt x="36" y="26"/>
                    <a:pt x="62" y="53"/>
                    <a:pt x="91" y="56"/>
                  </a:cubicBezTo>
                  <a:cubicBezTo>
                    <a:pt x="120" y="59"/>
                    <a:pt x="188" y="11"/>
                    <a:pt x="187" y="16"/>
                  </a:cubicBezTo>
                  <a:cubicBezTo>
                    <a:pt x="186" y="21"/>
                    <a:pt x="114" y="81"/>
                    <a:pt x="83" y="88"/>
                  </a:cubicBezTo>
                  <a:cubicBezTo>
                    <a:pt x="52" y="95"/>
                    <a:pt x="0" y="49"/>
                    <a:pt x="3" y="56"/>
                  </a:cubicBezTo>
                  <a:cubicBezTo>
                    <a:pt x="6" y="63"/>
                    <a:pt x="75" y="117"/>
                    <a:pt x="99" y="128"/>
                  </a:cubicBezTo>
                  <a:cubicBezTo>
                    <a:pt x="123" y="139"/>
                    <a:pt x="135" y="129"/>
                    <a:pt x="147" y="120"/>
                  </a:cubicBezTo>
                </a:path>
              </a:pathLst>
            </a:custGeom>
            <a:noFill/>
            <a:ln w="19050" cap="flat" cmpd="sng">
              <a:solidFill>
                <a:srgbClr val="DAAD8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07" name="Rectangle 206"/>
          <p:cNvSpPr/>
          <p:nvPr/>
        </p:nvSpPr>
        <p:spPr>
          <a:xfrm>
            <a:off x="7453313" y="2678906"/>
            <a:ext cx="535782" cy="340519"/>
          </a:xfrm>
          <a:prstGeom prst="rect">
            <a:avLst/>
          </a:prstGeom>
          <a:noFill/>
          <a:ln w="28575">
            <a:solidFill>
              <a:srgbClr val="E4003A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 dirty="0" smtClean="0"/>
          </a:p>
        </p:txBody>
      </p:sp>
      <p:sp>
        <p:nvSpPr>
          <p:cNvPr id="122" name="Rectangle 121"/>
          <p:cNvSpPr/>
          <p:nvPr/>
        </p:nvSpPr>
        <p:spPr>
          <a:xfrm>
            <a:off x="3840509" y="2316693"/>
            <a:ext cx="1594107" cy="17426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ABBS :: Data Sourcing  :: PMS</a:t>
            </a:r>
            <a:endParaRPr lang="de-DE" sz="800" dirty="0" smtClean="0">
              <a:latin typeface="Segoe UI Emoji" panose="020B0502040204020203" pitchFamily="34" charset="0"/>
              <a:ea typeface="Segoe UI Emoj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5163649" y="2071398"/>
            <a:ext cx="2567326" cy="15685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ABBS </a:t>
            </a:r>
            <a:r>
              <a:rPr lang="en-GB" sz="800" dirty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:: </a:t>
            </a: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PMS :: Service Record</a:t>
            </a:r>
            <a:endParaRPr lang="de-DE" sz="800" dirty="0" smtClean="0">
              <a:latin typeface="Segoe UI Emoji" panose="020B0502040204020203" pitchFamily="34" charset="0"/>
              <a:ea typeface="Segoe UI Emoj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3674801" y="3169254"/>
            <a:ext cx="1449191" cy="1742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b="1" dirty="0" smtClean="0">
                <a:latin typeface="Segoe UI Semibold" panose="020B0702040204020203" pitchFamily="34" charset="0"/>
                <a:ea typeface="Segoe UI Emoji" panose="020B0502040204020203" pitchFamily="34" charset="0"/>
                <a:cs typeface="Segoe UI Semibold" panose="020B0702040204020203" pitchFamily="34" charset="0"/>
              </a:rPr>
              <a:t>Service Description :: PMS</a:t>
            </a:r>
            <a:endParaRPr lang="de-DE" sz="800" b="1" dirty="0" smtClean="0">
              <a:latin typeface="Segoe UI Semibold" panose="020B0702040204020203" pitchFamily="34" charset="0"/>
              <a:ea typeface="Segoe UI Emoji" panose="020B05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129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7 L -0.2625 -0.63889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125" y="-3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6" presetClass="emph" presetSubtype="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" fill="hold"/>
                                        <p:tgtEl>
                                          <p:spTgt spid="201"/>
                                        </p:tgtEl>
                                      </p:cBhvr>
                                      <p:by x="10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00"/>
                            </p:stCondLst>
                            <p:childTnLst>
                              <p:par>
                                <p:cTn id="16" presetID="2" presetClass="exit" presetSubtype="4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300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2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00"/>
                            </p:stCondLst>
                            <p:childTnLst>
                              <p:par>
                                <p:cTn id="2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2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2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07" grpId="0" animBg="1"/>
      <p:bldP spid="207" grpId="1" animBg="1"/>
      <p:bldP spid="207" grpId="2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C536D6-B736-49CE-A15A-036B8228C5C7}" type="datetime1">
              <a:rPr lang="en-GB" smtClean="0"/>
              <a:t>09/09/2019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endParaRPr lang="en-US">
              <a:latin typeface="Allianz Neo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smtClean="0">
                <a:latin typeface="Allianz Neo" pitchFamily="34" charset="0"/>
              </a:rPr>
              <a:t>ABBS :: Data sourcing :: PMS :: </a:t>
            </a:r>
            <a:r>
              <a:rPr lang="en-GB" sz="2800" dirty="0" smtClean="0"/>
              <a:t>Documents</a:t>
            </a:r>
            <a:endParaRPr lang="en-US" sz="2800" dirty="0">
              <a:latin typeface="Allianz Neo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3724" y="1019622"/>
            <a:ext cx="2823170" cy="760959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Service Record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llianz Neo" pitchFamily="34" charset="0"/>
              </a:rPr>
              <a:t>level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494174" y="1197546"/>
            <a:ext cx="8177734" cy="7180769"/>
            <a:chOff x="1494174" y="1197546"/>
            <a:chExt cx="8177734" cy="7180769"/>
          </a:xfrm>
        </p:grpSpPr>
        <p:grpSp>
          <p:nvGrpSpPr>
            <p:cNvPr id="10" name="Group 9"/>
            <p:cNvGrpSpPr/>
            <p:nvPr/>
          </p:nvGrpSpPr>
          <p:grpSpPr>
            <a:xfrm>
              <a:off x="1494174" y="1197546"/>
              <a:ext cx="8177734" cy="7180769"/>
              <a:chOff x="1120776" y="627534"/>
              <a:chExt cx="6134098" cy="538433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2147888" y="627534"/>
                <a:ext cx="5106986" cy="3933826"/>
                <a:chOff x="2147888" y="320676"/>
                <a:chExt cx="5106988" cy="3933825"/>
              </a:xfrm>
            </p:grpSpPr>
            <p:sp>
              <p:nvSpPr>
                <p:cNvPr id="119" name="Freeform 7"/>
                <p:cNvSpPr>
                  <a:spLocks/>
                </p:cNvSpPr>
                <p:nvPr/>
              </p:nvSpPr>
              <p:spPr bwMode="auto">
                <a:xfrm>
                  <a:off x="2147888" y="320676"/>
                  <a:ext cx="5097463" cy="3933825"/>
                </a:xfrm>
                <a:custGeom>
                  <a:avLst/>
                  <a:gdLst>
                    <a:gd name="T0" fmla="*/ 1047 w 1047"/>
                    <a:gd name="T1" fmla="*/ 772 h 808"/>
                    <a:gd name="T2" fmla="*/ 1047 w 1047"/>
                    <a:gd name="T3" fmla="*/ 36 h 808"/>
                    <a:gd name="T4" fmla="*/ 1011 w 1047"/>
                    <a:gd name="T5" fmla="*/ 0 h 808"/>
                    <a:gd name="T6" fmla="*/ 36 w 1047"/>
                    <a:gd name="T7" fmla="*/ 0 h 808"/>
                    <a:gd name="T8" fmla="*/ 0 w 1047"/>
                    <a:gd name="T9" fmla="*/ 36 h 808"/>
                    <a:gd name="T10" fmla="*/ 0 w 1047"/>
                    <a:gd name="T11" fmla="*/ 772 h 808"/>
                    <a:gd name="T12" fmla="*/ 36 w 1047"/>
                    <a:gd name="T13" fmla="*/ 808 h 808"/>
                    <a:gd name="T14" fmla="*/ 1011 w 1047"/>
                    <a:gd name="T15" fmla="*/ 808 h 808"/>
                    <a:gd name="T16" fmla="*/ 1047 w 1047"/>
                    <a:gd name="T17" fmla="*/ 772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7" h="808">
                      <a:moveTo>
                        <a:pt x="1047" y="772"/>
                      </a:moveTo>
                      <a:cubicBezTo>
                        <a:pt x="1047" y="36"/>
                        <a:pt x="1047" y="36"/>
                        <a:pt x="1047" y="36"/>
                      </a:cubicBezTo>
                      <a:cubicBezTo>
                        <a:pt x="1047" y="17"/>
                        <a:pt x="1031" y="0"/>
                        <a:pt x="10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7"/>
                        <a:pt x="0" y="36"/>
                      </a:cubicBezTo>
                      <a:cubicBezTo>
                        <a:pt x="0" y="772"/>
                        <a:pt x="0" y="772"/>
                        <a:pt x="0" y="772"/>
                      </a:cubicBezTo>
                      <a:cubicBezTo>
                        <a:pt x="0" y="792"/>
                        <a:pt x="16" y="808"/>
                        <a:pt x="36" y="808"/>
                      </a:cubicBezTo>
                      <a:cubicBezTo>
                        <a:pt x="1011" y="808"/>
                        <a:pt x="1011" y="808"/>
                        <a:pt x="1011" y="808"/>
                      </a:cubicBezTo>
                      <a:cubicBezTo>
                        <a:pt x="1031" y="808"/>
                        <a:pt x="1047" y="792"/>
                        <a:pt x="1047" y="772"/>
                      </a:cubicBezTo>
                    </a:path>
                  </a:pathLst>
                </a:custGeom>
                <a:solidFill>
                  <a:srgbClr val="2124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8"/>
                <p:cNvSpPr>
                  <a:spLocks/>
                </p:cNvSpPr>
                <p:nvPr/>
              </p:nvSpPr>
              <p:spPr bwMode="auto">
                <a:xfrm>
                  <a:off x="4656138" y="320676"/>
                  <a:ext cx="2598738" cy="2093913"/>
                </a:xfrm>
                <a:custGeom>
                  <a:avLst/>
                  <a:gdLst>
                    <a:gd name="T0" fmla="*/ 534 w 534"/>
                    <a:gd name="T1" fmla="*/ 430 h 430"/>
                    <a:gd name="T2" fmla="*/ 534 w 534"/>
                    <a:gd name="T3" fmla="*/ 36 h 430"/>
                    <a:gd name="T4" fmla="*/ 498 w 534"/>
                    <a:gd name="T5" fmla="*/ 0 h 430"/>
                    <a:gd name="T6" fmla="*/ 0 w 534"/>
                    <a:gd name="T7" fmla="*/ 0 h 430"/>
                    <a:gd name="T8" fmla="*/ 534 w 534"/>
                    <a:gd name="T9" fmla="*/ 430 h 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4" h="430">
                      <a:moveTo>
                        <a:pt x="534" y="430"/>
                      </a:moveTo>
                      <a:cubicBezTo>
                        <a:pt x="534" y="36"/>
                        <a:pt x="534" y="36"/>
                        <a:pt x="534" y="36"/>
                      </a:cubicBezTo>
                      <a:cubicBezTo>
                        <a:pt x="534" y="17"/>
                        <a:pt x="518" y="0"/>
                        <a:pt x="49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534" y="430"/>
                      </a:lnTo>
                      <a:close/>
                    </a:path>
                  </a:pathLst>
                </a:custGeom>
                <a:solidFill>
                  <a:srgbClr val="5A5A5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10"/>
                <p:cNvSpPr>
                  <a:spLocks/>
                </p:cNvSpPr>
                <p:nvPr/>
              </p:nvSpPr>
              <p:spPr bwMode="auto">
                <a:xfrm>
                  <a:off x="2659063" y="739776"/>
                  <a:ext cx="4129088" cy="3095625"/>
                </a:xfrm>
                <a:custGeom>
                  <a:avLst/>
                  <a:gdLst>
                    <a:gd name="T0" fmla="*/ 848 w 848"/>
                    <a:gd name="T1" fmla="*/ 635 h 636"/>
                    <a:gd name="T2" fmla="*/ 847 w 848"/>
                    <a:gd name="T3" fmla="*/ 636 h 636"/>
                    <a:gd name="T4" fmla="*/ 2 w 848"/>
                    <a:gd name="T5" fmla="*/ 636 h 636"/>
                    <a:gd name="T6" fmla="*/ 0 w 848"/>
                    <a:gd name="T7" fmla="*/ 635 h 636"/>
                    <a:gd name="T8" fmla="*/ 0 w 848"/>
                    <a:gd name="T9" fmla="*/ 2 h 636"/>
                    <a:gd name="T10" fmla="*/ 2 w 848"/>
                    <a:gd name="T11" fmla="*/ 0 h 636"/>
                    <a:gd name="T12" fmla="*/ 847 w 848"/>
                    <a:gd name="T13" fmla="*/ 0 h 636"/>
                    <a:gd name="T14" fmla="*/ 848 w 848"/>
                    <a:gd name="T15" fmla="*/ 2 h 636"/>
                    <a:gd name="T16" fmla="*/ 848 w 848"/>
                    <a:gd name="T17" fmla="*/ 635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8" h="636">
                      <a:moveTo>
                        <a:pt x="848" y="635"/>
                      </a:moveTo>
                      <a:cubicBezTo>
                        <a:pt x="848" y="636"/>
                        <a:pt x="847" y="636"/>
                        <a:pt x="847" y="636"/>
                      </a:cubicBezTo>
                      <a:cubicBezTo>
                        <a:pt x="2" y="636"/>
                        <a:pt x="2" y="636"/>
                        <a:pt x="2" y="636"/>
                      </a:cubicBezTo>
                      <a:cubicBezTo>
                        <a:pt x="1" y="636"/>
                        <a:pt x="0" y="636"/>
                        <a:pt x="0" y="635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847" y="0"/>
                        <a:pt x="847" y="0"/>
                        <a:pt x="847" y="0"/>
                      </a:cubicBezTo>
                      <a:cubicBezTo>
                        <a:pt x="847" y="0"/>
                        <a:pt x="848" y="1"/>
                        <a:pt x="848" y="2"/>
                      </a:cubicBezTo>
                      <a:lnTo>
                        <a:pt x="848" y="6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1120776" y="2492376"/>
                <a:ext cx="1436688" cy="3519488"/>
                <a:chOff x="1120776" y="2492376"/>
                <a:chExt cx="1436688" cy="3519488"/>
              </a:xfrm>
            </p:grpSpPr>
            <p:sp>
              <p:nvSpPr>
                <p:cNvPr id="59" name="Freeform 64"/>
                <p:cNvSpPr>
                  <a:spLocks/>
                </p:cNvSpPr>
                <p:nvPr/>
              </p:nvSpPr>
              <p:spPr bwMode="auto">
                <a:xfrm>
                  <a:off x="2411413" y="2598738"/>
                  <a:ext cx="131763" cy="1655763"/>
                </a:xfrm>
                <a:custGeom>
                  <a:avLst/>
                  <a:gdLst>
                    <a:gd name="T0" fmla="*/ 14 w 27"/>
                    <a:gd name="T1" fmla="*/ 0 h 340"/>
                    <a:gd name="T2" fmla="*/ 15 w 27"/>
                    <a:gd name="T3" fmla="*/ 5 h 340"/>
                    <a:gd name="T4" fmla="*/ 22 w 27"/>
                    <a:gd name="T5" fmla="*/ 59 h 340"/>
                    <a:gd name="T6" fmla="*/ 3 w 27"/>
                    <a:gd name="T7" fmla="*/ 161 h 340"/>
                    <a:gd name="T8" fmla="*/ 6 w 27"/>
                    <a:gd name="T9" fmla="*/ 235 h 340"/>
                    <a:gd name="T10" fmla="*/ 23 w 27"/>
                    <a:gd name="T11" fmla="*/ 340 h 340"/>
                    <a:gd name="T12" fmla="*/ 27 w 27"/>
                    <a:gd name="T13" fmla="*/ 340 h 340"/>
                    <a:gd name="T14" fmla="*/ 10 w 27"/>
                    <a:gd name="T15" fmla="*/ 239 h 340"/>
                    <a:gd name="T16" fmla="*/ 7 w 27"/>
                    <a:gd name="T17" fmla="*/ 165 h 340"/>
                    <a:gd name="T18" fmla="*/ 26 w 27"/>
                    <a:gd name="T19" fmla="*/ 64 h 340"/>
                    <a:gd name="T20" fmla="*/ 14 w 27"/>
                    <a:gd name="T21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" h="340">
                      <a:moveTo>
                        <a:pt x="14" y="0"/>
                      </a:moveTo>
                      <a:cubicBezTo>
                        <a:pt x="14" y="2"/>
                        <a:pt x="14" y="4"/>
                        <a:pt x="15" y="5"/>
                      </a:cubicBezTo>
                      <a:cubicBezTo>
                        <a:pt x="22" y="22"/>
                        <a:pt x="23" y="45"/>
                        <a:pt x="22" y="59"/>
                      </a:cubicBezTo>
                      <a:cubicBezTo>
                        <a:pt x="21" y="83"/>
                        <a:pt x="5" y="134"/>
                        <a:pt x="3" y="161"/>
                      </a:cubicBezTo>
                      <a:cubicBezTo>
                        <a:pt x="0" y="188"/>
                        <a:pt x="8" y="211"/>
                        <a:pt x="6" y="235"/>
                      </a:cubicBezTo>
                      <a:cubicBezTo>
                        <a:pt x="4" y="254"/>
                        <a:pt x="21" y="296"/>
                        <a:pt x="23" y="340"/>
                      </a:cubicBezTo>
                      <a:cubicBezTo>
                        <a:pt x="27" y="340"/>
                        <a:pt x="27" y="340"/>
                        <a:pt x="27" y="340"/>
                      </a:cubicBezTo>
                      <a:cubicBezTo>
                        <a:pt x="24" y="297"/>
                        <a:pt x="8" y="258"/>
                        <a:pt x="10" y="239"/>
                      </a:cubicBezTo>
                      <a:cubicBezTo>
                        <a:pt x="12" y="216"/>
                        <a:pt x="5" y="192"/>
                        <a:pt x="7" y="165"/>
                      </a:cubicBezTo>
                      <a:cubicBezTo>
                        <a:pt x="9" y="138"/>
                        <a:pt x="25" y="87"/>
                        <a:pt x="26" y="64"/>
                      </a:cubicBezTo>
                      <a:cubicBezTo>
                        <a:pt x="27" y="47"/>
                        <a:pt x="26" y="17"/>
                        <a:pt x="14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65"/>
                <p:cNvSpPr>
                  <a:spLocks/>
                </p:cNvSpPr>
                <p:nvPr/>
              </p:nvSpPr>
              <p:spPr bwMode="auto">
                <a:xfrm>
                  <a:off x="2459038" y="2565401"/>
                  <a:ext cx="20638" cy="33338"/>
                </a:xfrm>
                <a:custGeom>
                  <a:avLst/>
                  <a:gdLst>
                    <a:gd name="T0" fmla="*/ 0 w 4"/>
                    <a:gd name="T1" fmla="*/ 0 h 7"/>
                    <a:gd name="T2" fmla="*/ 2 w 4"/>
                    <a:gd name="T3" fmla="*/ 5 h 7"/>
                    <a:gd name="T4" fmla="*/ 4 w 4"/>
                    <a:gd name="T5" fmla="*/ 7 h 7"/>
                    <a:gd name="T6" fmla="*/ 0 w 4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cubicBezTo>
                        <a:pt x="1" y="2"/>
                        <a:pt x="1" y="3"/>
                        <a:pt x="2" y="5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3" y="4"/>
                        <a:pt x="2" y="2"/>
                        <a:pt x="0" y="0"/>
                      </a:cubicBezTo>
                    </a:path>
                  </a:pathLst>
                </a:custGeom>
                <a:solidFill>
                  <a:srgbClr val="1E21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6"/>
                <p:cNvSpPr>
                  <a:spLocks/>
                </p:cNvSpPr>
                <p:nvPr/>
              </p:nvSpPr>
              <p:spPr bwMode="auto">
                <a:xfrm>
                  <a:off x="2470151" y="2589213"/>
                  <a:ext cx="14288" cy="33338"/>
                </a:xfrm>
                <a:custGeom>
                  <a:avLst/>
                  <a:gdLst>
                    <a:gd name="T0" fmla="*/ 0 w 3"/>
                    <a:gd name="T1" fmla="*/ 0 h 7"/>
                    <a:gd name="T2" fmla="*/ 0 w 3"/>
                    <a:gd name="T3" fmla="*/ 2 h 7"/>
                    <a:gd name="T4" fmla="*/ 3 w 3"/>
                    <a:gd name="T5" fmla="*/ 7 h 7"/>
                    <a:gd name="T6" fmla="*/ 2 w 3"/>
                    <a:gd name="T7" fmla="*/ 2 h 7"/>
                    <a:gd name="T8" fmla="*/ 0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0"/>
                      </a:move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1" y="4"/>
                        <a:pt x="2" y="6"/>
                        <a:pt x="3" y="7"/>
                      </a:cubicBezTo>
                      <a:cubicBezTo>
                        <a:pt x="2" y="6"/>
                        <a:pt x="2" y="4"/>
                        <a:pt x="2" y="2"/>
                      </a:cubicBez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1B1D1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8"/>
                <p:cNvSpPr>
                  <a:spLocks/>
                </p:cNvSpPr>
                <p:nvPr/>
              </p:nvSpPr>
              <p:spPr bwMode="auto">
                <a:xfrm>
                  <a:off x="1120776" y="3286126"/>
                  <a:ext cx="311150" cy="2725738"/>
                </a:xfrm>
                <a:custGeom>
                  <a:avLst/>
                  <a:gdLst>
                    <a:gd name="T0" fmla="*/ 0 w 64"/>
                    <a:gd name="T1" fmla="*/ 560 h 560"/>
                    <a:gd name="T2" fmla="*/ 62 w 64"/>
                    <a:gd name="T3" fmla="*/ 313 h 560"/>
                    <a:gd name="T4" fmla="*/ 57 w 64"/>
                    <a:gd name="T5" fmla="*/ 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4" h="560">
                      <a:moveTo>
                        <a:pt x="0" y="560"/>
                      </a:moveTo>
                      <a:cubicBezTo>
                        <a:pt x="19" y="510"/>
                        <a:pt x="64" y="401"/>
                        <a:pt x="62" y="313"/>
                      </a:cubicBezTo>
                      <a:cubicBezTo>
                        <a:pt x="59" y="218"/>
                        <a:pt x="19" y="10"/>
                        <a:pt x="57" y="0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9"/>
                <p:cNvSpPr>
                  <a:spLocks/>
                </p:cNvSpPr>
                <p:nvPr/>
              </p:nvSpPr>
              <p:spPr bwMode="auto">
                <a:xfrm>
                  <a:off x="1120776" y="2492376"/>
                  <a:ext cx="1436688" cy="3519488"/>
                </a:xfrm>
                <a:custGeom>
                  <a:avLst/>
                  <a:gdLst>
                    <a:gd name="T0" fmla="*/ 57 w 295"/>
                    <a:gd name="T1" fmla="*/ 163 h 723"/>
                    <a:gd name="T2" fmla="*/ 129 w 295"/>
                    <a:gd name="T3" fmla="*/ 133 h 723"/>
                    <a:gd name="T4" fmla="*/ 191 w 295"/>
                    <a:gd name="T5" fmla="*/ 104 h 723"/>
                    <a:gd name="T6" fmla="*/ 202 w 295"/>
                    <a:gd name="T7" fmla="*/ 50 h 723"/>
                    <a:gd name="T8" fmla="*/ 255 w 295"/>
                    <a:gd name="T9" fmla="*/ 5 h 723"/>
                    <a:gd name="T10" fmla="*/ 287 w 295"/>
                    <a:gd name="T11" fmla="*/ 81 h 723"/>
                    <a:gd name="T12" fmla="*/ 268 w 295"/>
                    <a:gd name="T13" fmla="*/ 183 h 723"/>
                    <a:gd name="T14" fmla="*/ 271 w 295"/>
                    <a:gd name="T15" fmla="*/ 257 h 723"/>
                    <a:gd name="T16" fmla="*/ 287 w 295"/>
                    <a:gd name="T17" fmla="*/ 394 h 723"/>
                    <a:gd name="T18" fmla="*/ 231 w 295"/>
                    <a:gd name="T19" fmla="*/ 549 h 723"/>
                    <a:gd name="T20" fmla="*/ 188 w 295"/>
                    <a:gd name="T21" fmla="*/ 723 h 723"/>
                    <a:gd name="T22" fmla="*/ 0 w 295"/>
                    <a:gd name="T23" fmla="*/ 723 h 723"/>
                    <a:gd name="T24" fmla="*/ 57 w 295"/>
                    <a:gd name="T25" fmla="*/ 163 h 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5" h="723">
                      <a:moveTo>
                        <a:pt x="57" y="163"/>
                      </a:moveTo>
                      <a:cubicBezTo>
                        <a:pt x="72" y="151"/>
                        <a:pt x="106" y="143"/>
                        <a:pt x="129" y="133"/>
                      </a:cubicBezTo>
                      <a:cubicBezTo>
                        <a:pt x="153" y="122"/>
                        <a:pt x="185" y="107"/>
                        <a:pt x="191" y="104"/>
                      </a:cubicBezTo>
                      <a:cubicBezTo>
                        <a:pt x="196" y="101"/>
                        <a:pt x="195" y="74"/>
                        <a:pt x="202" y="50"/>
                      </a:cubicBezTo>
                      <a:cubicBezTo>
                        <a:pt x="210" y="27"/>
                        <a:pt x="224" y="0"/>
                        <a:pt x="255" y="5"/>
                      </a:cubicBezTo>
                      <a:cubicBezTo>
                        <a:pt x="286" y="11"/>
                        <a:pt x="288" y="58"/>
                        <a:pt x="287" y="81"/>
                      </a:cubicBezTo>
                      <a:cubicBezTo>
                        <a:pt x="286" y="105"/>
                        <a:pt x="270" y="156"/>
                        <a:pt x="268" y="183"/>
                      </a:cubicBezTo>
                      <a:cubicBezTo>
                        <a:pt x="265" y="210"/>
                        <a:pt x="273" y="233"/>
                        <a:pt x="271" y="257"/>
                      </a:cubicBezTo>
                      <a:cubicBezTo>
                        <a:pt x="269" y="281"/>
                        <a:pt x="295" y="339"/>
                        <a:pt x="287" y="394"/>
                      </a:cubicBezTo>
                      <a:cubicBezTo>
                        <a:pt x="279" y="449"/>
                        <a:pt x="249" y="502"/>
                        <a:pt x="231" y="549"/>
                      </a:cubicBezTo>
                      <a:cubicBezTo>
                        <a:pt x="215" y="594"/>
                        <a:pt x="192" y="670"/>
                        <a:pt x="188" y="723"/>
                      </a:cubicBezTo>
                      <a:cubicBezTo>
                        <a:pt x="0" y="723"/>
                        <a:pt x="0" y="723"/>
                        <a:pt x="0" y="723"/>
                      </a:cubicBezTo>
                      <a:cubicBezTo>
                        <a:pt x="57" y="163"/>
                        <a:pt x="57" y="163"/>
                        <a:pt x="57" y="163"/>
                      </a:cubicBezTo>
                    </a:path>
                  </a:pathLst>
                </a:custGeom>
                <a:solidFill>
                  <a:srgbClr val="D6A3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70"/>
                <p:cNvSpPr>
                  <a:spLocks/>
                </p:cNvSpPr>
                <p:nvPr/>
              </p:nvSpPr>
              <p:spPr bwMode="auto">
                <a:xfrm>
                  <a:off x="2060576" y="2968626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C1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71"/>
                <p:cNvSpPr>
                  <a:spLocks noEditPoints="1"/>
                </p:cNvSpPr>
                <p:nvPr/>
              </p:nvSpPr>
              <p:spPr bwMode="auto">
                <a:xfrm>
                  <a:off x="1700213" y="2968626"/>
                  <a:ext cx="360363" cy="842963"/>
                </a:xfrm>
                <a:custGeom>
                  <a:avLst/>
                  <a:gdLst>
                    <a:gd name="T0" fmla="*/ 74 w 74"/>
                    <a:gd name="T1" fmla="*/ 3 h 173"/>
                    <a:gd name="T2" fmla="*/ 56 w 74"/>
                    <a:gd name="T3" fmla="*/ 50 h 173"/>
                    <a:gd name="T4" fmla="*/ 52 w 74"/>
                    <a:gd name="T5" fmla="*/ 49 h 173"/>
                    <a:gd name="T6" fmla="*/ 39 w 74"/>
                    <a:gd name="T7" fmla="*/ 44 h 173"/>
                    <a:gd name="T8" fmla="*/ 51 w 74"/>
                    <a:gd name="T9" fmla="*/ 57 h 173"/>
                    <a:gd name="T10" fmla="*/ 57 w 74"/>
                    <a:gd name="T11" fmla="*/ 66 h 173"/>
                    <a:gd name="T12" fmla="*/ 9 w 74"/>
                    <a:gd name="T13" fmla="*/ 53 h 173"/>
                    <a:gd name="T14" fmla="*/ 4 w 74"/>
                    <a:gd name="T15" fmla="*/ 53 h 173"/>
                    <a:gd name="T16" fmla="*/ 58 w 74"/>
                    <a:gd name="T17" fmla="*/ 83 h 173"/>
                    <a:gd name="T18" fmla="*/ 53 w 74"/>
                    <a:gd name="T19" fmla="*/ 92 h 173"/>
                    <a:gd name="T20" fmla="*/ 16 w 74"/>
                    <a:gd name="T21" fmla="*/ 77 h 173"/>
                    <a:gd name="T22" fmla="*/ 12 w 74"/>
                    <a:gd name="T23" fmla="*/ 76 h 173"/>
                    <a:gd name="T24" fmla="*/ 49 w 74"/>
                    <a:gd name="T25" fmla="*/ 108 h 173"/>
                    <a:gd name="T26" fmla="*/ 21 w 74"/>
                    <a:gd name="T27" fmla="*/ 139 h 173"/>
                    <a:gd name="T28" fmla="*/ 14 w 74"/>
                    <a:gd name="T29" fmla="*/ 144 h 173"/>
                    <a:gd name="T30" fmla="*/ 32 w 74"/>
                    <a:gd name="T31" fmla="*/ 142 h 173"/>
                    <a:gd name="T32" fmla="*/ 32 w 74"/>
                    <a:gd name="T33" fmla="*/ 142 h 173"/>
                    <a:gd name="T34" fmla="*/ 30 w 74"/>
                    <a:gd name="T35" fmla="*/ 158 h 173"/>
                    <a:gd name="T36" fmla="*/ 20 w 74"/>
                    <a:gd name="T37" fmla="*/ 173 h 173"/>
                    <a:gd name="T38" fmla="*/ 20 w 74"/>
                    <a:gd name="T39" fmla="*/ 173 h 173"/>
                    <a:gd name="T40" fmla="*/ 33 w 74"/>
                    <a:gd name="T41" fmla="*/ 158 h 173"/>
                    <a:gd name="T42" fmla="*/ 74 w 74"/>
                    <a:gd name="T43" fmla="*/ 3 h 173"/>
                    <a:gd name="T44" fmla="*/ 74 w 74"/>
                    <a:gd name="T45" fmla="*/ 0 h 173"/>
                    <a:gd name="T46" fmla="*/ 74 w 74"/>
                    <a:gd name="T47" fmla="*/ 1 h 173"/>
                    <a:gd name="T48" fmla="*/ 74 w 74"/>
                    <a:gd name="T49" fmla="*/ 3 h 173"/>
                    <a:gd name="T50" fmla="*/ 74 w 74"/>
                    <a:gd name="T51" fmla="*/ 0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" h="173">
                      <a:moveTo>
                        <a:pt x="74" y="3"/>
                      </a:moveTo>
                      <a:cubicBezTo>
                        <a:pt x="69" y="39"/>
                        <a:pt x="63" y="50"/>
                        <a:pt x="56" y="50"/>
                      </a:cubicBezTo>
                      <a:cubicBezTo>
                        <a:pt x="55" y="50"/>
                        <a:pt x="54" y="49"/>
                        <a:pt x="52" y="49"/>
                      </a:cubicBezTo>
                      <a:cubicBezTo>
                        <a:pt x="48" y="47"/>
                        <a:pt x="41" y="44"/>
                        <a:pt x="39" y="44"/>
                      </a:cubicBezTo>
                      <a:cubicBezTo>
                        <a:pt x="36" y="44"/>
                        <a:pt x="38" y="47"/>
                        <a:pt x="51" y="57"/>
                      </a:cubicBezTo>
                      <a:cubicBezTo>
                        <a:pt x="59" y="64"/>
                        <a:pt x="60" y="66"/>
                        <a:pt x="57" y="66"/>
                      </a:cubicBezTo>
                      <a:cubicBezTo>
                        <a:pt x="50" y="66"/>
                        <a:pt x="24" y="56"/>
                        <a:pt x="9" y="53"/>
                      </a:cubicBezTo>
                      <a:cubicBezTo>
                        <a:pt x="6" y="53"/>
                        <a:pt x="5" y="53"/>
                        <a:pt x="4" y="53"/>
                      </a:cubicBezTo>
                      <a:cubicBezTo>
                        <a:pt x="0" y="53"/>
                        <a:pt x="56" y="64"/>
                        <a:pt x="58" y="83"/>
                      </a:cubicBezTo>
                      <a:cubicBezTo>
                        <a:pt x="59" y="89"/>
                        <a:pt x="57" y="92"/>
                        <a:pt x="53" y="92"/>
                      </a:cubicBezTo>
                      <a:cubicBezTo>
                        <a:pt x="44" y="92"/>
                        <a:pt x="27" y="81"/>
                        <a:pt x="16" y="77"/>
                      </a:cubicBezTo>
                      <a:cubicBezTo>
                        <a:pt x="14" y="77"/>
                        <a:pt x="13" y="76"/>
                        <a:pt x="12" y="76"/>
                      </a:cubicBezTo>
                      <a:cubicBezTo>
                        <a:pt x="7" y="76"/>
                        <a:pt x="42" y="98"/>
                        <a:pt x="49" y="108"/>
                      </a:cubicBezTo>
                      <a:cubicBezTo>
                        <a:pt x="58" y="119"/>
                        <a:pt x="41" y="133"/>
                        <a:pt x="21" y="139"/>
                      </a:cubicBezTo>
                      <a:cubicBezTo>
                        <a:pt x="10" y="143"/>
                        <a:pt x="9" y="144"/>
                        <a:pt x="14" y="144"/>
                      </a:cubicBezTo>
                      <a:cubicBezTo>
                        <a:pt x="17" y="144"/>
                        <a:pt x="24" y="143"/>
                        <a:pt x="32" y="142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8" y="142"/>
                        <a:pt x="35" y="150"/>
                        <a:pt x="30" y="158"/>
                      </a:cubicBezTo>
                      <a:cubicBezTo>
                        <a:pt x="26" y="165"/>
                        <a:pt x="20" y="173"/>
                        <a:pt x="20" y="173"/>
                      </a:cubicBezTo>
                      <a:cubicBezTo>
                        <a:pt x="20" y="173"/>
                        <a:pt x="20" y="173"/>
                        <a:pt x="20" y="173"/>
                      </a:cubicBezTo>
                      <a:cubicBezTo>
                        <a:pt x="21" y="173"/>
                        <a:pt x="24" y="169"/>
                        <a:pt x="33" y="158"/>
                      </a:cubicBezTo>
                      <a:cubicBezTo>
                        <a:pt x="67" y="116"/>
                        <a:pt x="71" y="25"/>
                        <a:pt x="74" y="3"/>
                      </a:cubicBezTo>
                      <a:moveTo>
                        <a:pt x="74" y="0"/>
                      </a:moveTo>
                      <a:cubicBezTo>
                        <a:pt x="74" y="1"/>
                        <a:pt x="74" y="1"/>
                        <a:pt x="74" y="1"/>
                      </a:cubicBezTo>
                      <a:cubicBezTo>
                        <a:pt x="74" y="1"/>
                        <a:pt x="74" y="2"/>
                        <a:pt x="74" y="3"/>
                      </a:cubicBezTo>
                      <a:cubicBezTo>
                        <a:pt x="74" y="2"/>
                        <a:pt x="74" y="1"/>
                        <a:pt x="7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72"/>
                <p:cNvSpPr>
                  <a:spLocks noEditPoints="1"/>
                </p:cNvSpPr>
                <p:nvPr/>
              </p:nvSpPr>
              <p:spPr bwMode="auto">
                <a:xfrm>
                  <a:off x="2114551" y="2998788"/>
                  <a:ext cx="315913" cy="146050"/>
                </a:xfrm>
                <a:custGeom>
                  <a:avLst/>
                  <a:gdLst>
                    <a:gd name="T0" fmla="*/ 9 w 65"/>
                    <a:gd name="T1" fmla="*/ 18 h 30"/>
                    <a:gd name="T2" fmla="*/ 58 w 65"/>
                    <a:gd name="T3" fmla="*/ 30 h 30"/>
                    <a:gd name="T4" fmla="*/ 59 w 65"/>
                    <a:gd name="T5" fmla="*/ 30 h 30"/>
                    <a:gd name="T6" fmla="*/ 65 w 65"/>
                    <a:gd name="T7" fmla="*/ 30 h 30"/>
                    <a:gd name="T8" fmla="*/ 65 w 65"/>
                    <a:gd name="T9" fmla="*/ 30 h 30"/>
                    <a:gd name="T10" fmla="*/ 9 w 65"/>
                    <a:gd name="T11" fmla="*/ 18 h 30"/>
                    <a:gd name="T12" fmla="*/ 14 w 65"/>
                    <a:gd name="T13" fmla="*/ 0 h 30"/>
                    <a:gd name="T14" fmla="*/ 12 w 65"/>
                    <a:gd name="T15" fmla="*/ 0 h 30"/>
                    <a:gd name="T16" fmla="*/ 0 w 65"/>
                    <a:gd name="T17" fmla="*/ 1 h 30"/>
                    <a:gd name="T18" fmla="*/ 29 w 65"/>
                    <a:gd name="T19" fmla="*/ 4 h 30"/>
                    <a:gd name="T20" fmla="*/ 43 w 65"/>
                    <a:gd name="T21" fmla="*/ 2 h 30"/>
                    <a:gd name="T22" fmla="*/ 14 w 65"/>
                    <a:gd name="T2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5" h="30">
                      <a:moveTo>
                        <a:pt x="9" y="18"/>
                      </a:moveTo>
                      <a:cubicBezTo>
                        <a:pt x="22" y="24"/>
                        <a:pt x="44" y="30"/>
                        <a:pt x="58" y="30"/>
                      </a:cubicBezTo>
                      <a:cubicBezTo>
                        <a:pt x="59" y="30"/>
                        <a:pt x="59" y="30"/>
                        <a:pt x="59" y="30"/>
                      </a:cubicBezTo>
                      <a:cubicBezTo>
                        <a:pt x="62" y="30"/>
                        <a:pt x="64" y="30"/>
                        <a:pt x="65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55" y="29"/>
                        <a:pt x="26" y="21"/>
                        <a:pt x="9" y="18"/>
                      </a:cubicBezTo>
                      <a:moveTo>
                        <a:pt x="14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0"/>
                        <a:pt x="3" y="0"/>
                        <a:pt x="0" y="1"/>
                      </a:cubicBezTo>
                      <a:cubicBezTo>
                        <a:pt x="5" y="2"/>
                        <a:pt x="17" y="4"/>
                        <a:pt x="29" y="4"/>
                      </a:cubicBezTo>
                      <a:cubicBezTo>
                        <a:pt x="34" y="4"/>
                        <a:pt x="39" y="4"/>
                        <a:pt x="43" y="2"/>
                      </a:cubicBezTo>
                      <a:cubicBezTo>
                        <a:pt x="36" y="2"/>
                        <a:pt x="24" y="0"/>
                        <a:pt x="14" y="0"/>
                      </a:cubicBezTo>
                    </a:path>
                  </a:pathLst>
                </a:custGeom>
                <a:solidFill>
                  <a:srgbClr val="C0877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7" name="Freeform 73"/>
                <p:cNvSpPr>
                  <a:spLocks noEditPoints="1"/>
                </p:cNvSpPr>
                <p:nvPr/>
              </p:nvSpPr>
              <p:spPr bwMode="auto">
                <a:xfrm>
                  <a:off x="2211388" y="2497138"/>
                  <a:ext cx="247650" cy="68263"/>
                </a:xfrm>
                <a:custGeom>
                  <a:avLst/>
                  <a:gdLst>
                    <a:gd name="T0" fmla="*/ 34 w 51"/>
                    <a:gd name="T1" fmla="*/ 2 h 14"/>
                    <a:gd name="T2" fmla="*/ 34 w 51"/>
                    <a:gd name="T3" fmla="*/ 2 h 14"/>
                    <a:gd name="T4" fmla="*/ 37 w 51"/>
                    <a:gd name="T5" fmla="*/ 3 h 14"/>
                    <a:gd name="T6" fmla="*/ 37 w 51"/>
                    <a:gd name="T7" fmla="*/ 3 h 14"/>
                    <a:gd name="T8" fmla="*/ 36 w 51"/>
                    <a:gd name="T9" fmla="*/ 6 h 14"/>
                    <a:gd name="T10" fmla="*/ 51 w 51"/>
                    <a:gd name="T11" fmla="*/ 14 h 14"/>
                    <a:gd name="T12" fmla="*/ 34 w 51"/>
                    <a:gd name="T13" fmla="*/ 2 h 14"/>
                    <a:gd name="T14" fmla="*/ 26 w 51"/>
                    <a:gd name="T15" fmla="*/ 0 h 14"/>
                    <a:gd name="T16" fmla="*/ 26 w 51"/>
                    <a:gd name="T17" fmla="*/ 0 h 14"/>
                    <a:gd name="T18" fmla="*/ 26 w 51"/>
                    <a:gd name="T19" fmla="*/ 0 h 14"/>
                    <a:gd name="T20" fmla="*/ 20 w 51"/>
                    <a:gd name="T21" fmla="*/ 0 h 14"/>
                    <a:gd name="T22" fmla="*/ 0 w 51"/>
                    <a:gd name="T23" fmla="*/ 12 h 14"/>
                    <a:gd name="T24" fmla="*/ 19 w 51"/>
                    <a:gd name="T25" fmla="*/ 4 h 14"/>
                    <a:gd name="T26" fmla="*/ 19 w 51"/>
                    <a:gd name="T27" fmla="*/ 0 h 14"/>
                    <a:gd name="T28" fmla="*/ 20 w 51"/>
                    <a:gd name="T29" fmla="*/ 0 h 14"/>
                    <a:gd name="T30" fmla="*/ 26 w 51"/>
                    <a:gd name="T31" fmla="*/ 0 h 14"/>
                    <a:gd name="T32" fmla="*/ 20 w 51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14">
                      <a:moveTo>
                        <a:pt x="34" y="2"/>
                      </a:move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5" y="2"/>
                        <a:pt x="36" y="2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43" y="7"/>
                        <a:pt x="48" y="10"/>
                        <a:pt x="51" y="14"/>
                      </a:cubicBezTo>
                      <a:cubicBezTo>
                        <a:pt x="48" y="7"/>
                        <a:pt x="42" y="4"/>
                        <a:pt x="34" y="2"/>
                      </a:cubicBezTo>
                      <a:moveTo>
                        <a:pt x="26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moveTo>
                        <a:pt x="20" y="0"/>
                      </a:moveTo>
                      <a:cubicBezTo>
                        <a:pt x="9" y="0"/>
                        <a:pt x="3" y="4"/>
                        <a:pt x="0" y="12"/>
                      </a:cubicBezTo>
                      <a:cubicBezTo>
                        <a:pt x="5" y="8"/>
                        <a:pt x="11" y="5"/>
                        <a:pt x="19" y="4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2" y="0"/>
                        <a:pt x="24" y="0"/>
                        <a:pt x="26" y="0"/>
                      </a:cubicBezTo>
                      <a:cubicBezTo>
                        <a:pt x="24" y="0"/>
                        <a:pt x="22" y="0"/>
                        <a:pt x="20" y="0"/>
                      </a:cubicBezTo>
                    </a:path>
                  </a:pathLst>
                </a:custGeom>
                <a:solidFill>
                  <a:srgbClr val="7674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74"/>
                <p:cNvSpPr>
                  <a:spLocks/>
                </p:cNvSpPr>
                <p:nvPr/>
              </p:nvSpPr>
              <p:spPr bwMode="auto">
                <a:xfrm>
                  <a:off x="2386013" y="2525713"/>
                  <a:ext cx="84138" cy="63500"/>
                </a:xfrm>
                <a:custGeom>
                  <a:avLst/>
                  <a:gdLst>
                    <a:gd name="T0" fmla="*/ 0 w 17"/>
                    <a:gd name="T1" fmla="*/ 0 h 13"/>
                    <a:gd name="T2" fmla="*/ 0 w 17"/>
                    <a:gd name="T3" fmla="*/ 0 h 13"/>
                    <a:gd name="T4" fmla="*/ 13 w 17"/>
                    <a:gd name="T5" fmla="*/ 9 h 13"/>
                    <a:gd name="T6" fmla="*/ 17 w 17"/>
                    <a:gd name="T7" fmla="*/ 13 h 13"/>
                    <a:gd name="T8" fmla="*/ 15 w 17"/>
                    <a:gd name="T9" fmla="*/ 8 h 13"/>
                    <a:gd name="T10" fmla="*/ 0 w 17"/>
                    <a:gd name="T11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2"/>
                        <a:pt x="9" y="5"/>
                        <a:pt x="13" y="9"/>
                      </a:cubicBezTo>
                      <a:cubicBezTo>
                        <a:pt x="14" y="10"/>
                        <a:pt x="16" y="11"/>
                        <a:pt x="17" y="13"/>
                      </a:cubicBezTo>
                      <a:cubicBezTo>
                        <a:pt x="16" y="11"/>
                        <a:pt x="16" y="10"/>
                        <a:pt x="15" y="8"/>
                      </a:cubicBezTo>
                      <a:cubicBezTo>
                        <a:pt x="12" y="4"/>
                        <a:pt x="7" y="1"/>
                        <a:pt x="0" y="0"/>
                      </a:cubicBezTo>
                    </a:path>
                  </a:pathLst>
                </a:custGeom>
                <a:solidFill>
                  <a:srgbClr val="7471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75"/>
                <p:cNvSpPr>
                  <a:spLocks/>
                </p:cNvSpPr>
                <p:nvPr/>
              </p:nvSpPr>
              <p:spPr bwMode="auto">
                <a:xfrm>
                  <a:off x="2449513" y="2570163"/>
                  <a:ext cx="20638" cy="28575"/>
                </a:xfrm>
                <a:custGeom>
                  <a:avLst/>
                  <a:gdLst>
                    <a:gd name="T0" fmla="*/ 0 w 4"/>
                    <a:gd name="T1" fmla="*/ 0 h 6"/>
                    <a:gd name="T2" fmla="*/ 4 w 4"/>
                    <a:gd name="T3" fmla="*/ 6 h 6"/>
                    <a:gd name="T4" fmla="*/ 4 w 4"/>
                    <a:gd name="T5" fmla="*/ 4 h 6"/>
                    <a:gd name="T6" fmla="*/ 0 w 4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cubicBezTo>
                        <a:pt x="1" y="2"/>
                        <a:pt x="3" y="4"/>
                        <a:pt x="4" y="6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3" y="2"/>
                        <a:pt x="1" y="1"/>
                        <a:pt x="0" y="0"/>
                      </a:cubicBezTo>
                    </a:path>
                  </a:pathLst>
                </a:custGeom>
                <a:solidFill>
                  <a:srgbClr val="727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76"/>
                <p:cNvSpPr>
                  <a:spLocks noEditPoints="1"/>
                </p:cNvSpPr>
                <p:nvPr/>
              </p:nvSpPr>
              <p:spPr bwMode="auto">
                <a:xfrm>
                  <a:off x="2182813" y="2516188"/>
                  <a:ext cx="292100" cy="315913"/>
                </a:xfrm>
                <a:custGeom>
                  <a:avLst/>
                  <a:gdLst>
                    <a:gd name="T0" fmla="*/ 27 w 60"/>
                    <a:gd name="T1" fmla="*/ 64 h 65"/>
                    <a:gd name="T2" fmla="*/ 34 w 60"/>
                    <a:gd name="T3" fmla="*/ 65 h 65"/>
                    <a:gd name="T4" fmla="*/ 31 w 60"/>
                    <a:gd name="T5" fmla="*/ 64 h 65"/>
                    <a:gd name="T6" fmla="*/ 31 w 60"/>
                    <a:gd name="T7" fmla="*/ 64 h 65"/>
                    <a:gd name="T8" fmla="*/ 30 w 60"/>
                    <a:gd name="T9" fmla="*/ 64 h 65"/>
                    <a:gd name="T10" fmla="*/ 27 w 60"/>
                    <a:gd name="T11" fmla="*/ 64 h 65"/>
                    <a:gd name="T12" fmla="*/ 27 w 60"/>
                    <a:gd name="T13" fmla="*/ 64 h 65"/>
                    <a:gd name="T14" fmla="*/ 27 w 60"/>
                    <a:gd name="T15" fmla="*/ 64 h 65"/>
                    <a:gd name="T16" fmla="*/ 27 w 60"/>
                    <a:gd name="T17" fmla="*/ 64 h 65"/>
                    <a:gd name="T18" fmla="*/ 42 w 60"/>
                    <a:gd name="T19" fmla="*/ 2 h 65"/>
                    <a:gd name="T20" fmla="*/ 34 w 60"/>
                    <a:gd name="T21" fmla="*/ 65 h 65"/>
                    <a:gd name="T22" fmla="*/ 37 w 60"/>
                    <a:gd name="T23" fmla="*/ 65 h 65"/>
                    <a:gd name="T24" fmla="*/ 58 w 60"/>
                    <a:gd name="T25" fmla="*/ 35 h 65"/>
                    <a:gd name="T26" fmla="*/ 58 w 60"/>
                    <a:gd name="T27" fmla="*/ 35 h 65"/>
                    <a:gd name="T28" fmla="*/ 59 w 60"/>
                    <a:gd name="T29" fmla="*/ 17 h 65"/>
                    <a:gd name="T30" fmla="*/ 59 w 60"/>
                    <a:gd name="T31" fmla="*/ 17 h 65"/>
                    <a:gd name="T32" fmla="*/ 59 w 60"/>
                    <a:gd name="T33" fmla="*/ 17 h 65"/>
                    <a:gd name="T34" fmla="*/ 55 w 60"/>
                    <a:gd name="T35" fmla="*/ 11 h 65"/>
                    <a:gd name="T36" fmla="*/ 42 w 60"/>
                    <a:gd name="T37" fmla="*/ 2 h 65"/>
                    <a:gd name="T38" fmla="*/ 25 w 60"/>
                    <a:gd name="T39" fmla="*/ 0 h 65"/>
                    <a:gd name="T40" fmla="*/ 6 w 60"/>
                    <a:gd name="T41" fmla="*/ 8 h 65"/>
                    <a:gd name="T42" fmla="*/ 6 w 60"/>
                    <a:gd name="T43" fmla="*/ 8 h 65"/>
                    <a:gd name="T44" fmla="*/ 6 w 60"/>
                    <a:gd name="T45" fmla="*/ 8 h 65"/>
                    <a:gd name="T46" fmla="*/ 6 w 60"/>
                    <a:gd name="T47" fmla="*/ 8 h 65"/>
                    <a:gd name="T48" fmla="*/ 3 w 60"/>
                    <a:gd name="T49" fmla="*/ 19 h 65"/>
                    <a:gd name="T50" fmla="*/ 1 w 60"/>
                    <a:gd name="T51" fmla="*/ 28 h 65"/>
                    <a:gd name="T52" fmla="*/ 0 w 60"/>
                    <a:gd name="T53" fmla="*/ 40 h 65"/>
                    <a:gd name="T54" fmla="*/ 0 w 60"/>
                    <a:gd name="T55" fmla="*/ 40 h 65"/>
                    <a:gd name="T56" fmla="*/ 2 w 60"/>
                    <a:gd name="T57" fmla="*/ 50 h 65"/>
                    <a:gd name="T58" fmla="*/ 20 w 60"/>
                    <a:gd name="T59" fmla="*/ 62 h 65"/>
                    <a:gd name="T60" fmla="*/ 17 w 60"/>
                    <a:gd name="T61" fmla="*/ 61 h 65"/>
                    <a:gd name="T62" fmla="*/ 25 w 60"/>
                    <a:gd name="T63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0" h="65">
                      <a:moveTo>
                        <a:pt x="27" y="64"/>
                      </a:moveTo>
                      <a:cubicBezTo>
                        <a:pt x="30" y="64"/>
                        <a:pt x="32" y="64"/>
                        <a:pt x="34" y="65"/>
                      </a:cubicBezTo>
                      <a:cubicBezTo>
                        <a:pt x="33" y="65"/>
                        <a:pt x="32" y="64"/>
                        <a:pt x="31" y="64"/>
                      </a:cubicBezTo>
                      <a:cubicBezTo>
                        <a:pt x="31" y="64"/>
                        <a:pt x="31" y="64"/>
                        <a:pt x="31" y="64"/>
                      </a:cubicBezTo>
                      <a:cubicBezTo>
                        <a:pt x="31" y="64"/>
                        <a:pt x="31" y="64"/>
                        <a:pt x="30" y="64"/>
                      </a:cubicBezTo>
                      <a:cubicBezTo>
                        <a:pt x="29" y="64"/>
                        <a:pt x="28" y="64"/>
                        <a:pt x="27" y="64"/>
                      </a:cubicBezTo>
                      <a:moveTo>
                        <a:pt x="27" y="64"/>
                      </a:move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moveTo>
                        <a:pt x="42" y="2"/>
                      </a:move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5" y="65"/>
                        <a:pt x="36" y="65"/>
                        <a:pt x="37" y="65"/>
                      </a:cubicBezTo>
                      <a:cubicBezTo>
                        <a:pt x="51" y="65"/>
                        <a:pt x="54" y="57"/>
                        <a:pt x="58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28"/>
                        <a:pt x="60" y="22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5"/>
                        <a:pt x="56" y="13"/>
                        <a:pt x="55" y="11"/>
                      </a:cubicBezTo>
                      <a:cubicBezTo>
                        <a:pt x="51" y="7"/>
                        <a:pt x="47" y="4"/>
                        <a:pt x="42" y="2"/>
                      </a:cubicBezTo>
                      <a:moveTo>
                        <a:pt x="25" y="0"/>
                      </a:moveTo>
                      <a:cubicBezTo>
                        <a:pt x="17" y="1"/>
                        <a:pt x="11" y="4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6" y="8"/>
                        <a:pt x="6" y="8"/>
                        <a:pt x="6" y="8"/>
                      </a:cubicBezTo>
                      <a:cubicBezTo>
                        <a:pt x="5" y="11"/>
                        <a:pt x="4" y="15"/>
                        <a:pt x="3" y="19"/>
                      </a:cubicBezTo>
                      <a:cubicBezTo>
                        <a:pt x="2" y="22"/>
                        <a:pt x="1" y="25"/>
                        <a:pt x="1" y="28"/>
                      </a:cubicBezTo>
                      <a:cubicBezTo>
                        <a:pt x="0" y="32"/>
                        <a:pt x="0" y="36"/>
                        <a:pt x="0" y="40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4"/>
                        <a:pt x="0" y="47"/>
                        <a:pt x="2" y="50"/>
                      </a:cubicBezTo>
                      <a:cubicBezTo>
                        <a:pt x="4" y="56"/>
                        <a:pt x="10" y="60"/>
                        <a:pt x="20" y="62"/>
                      </a:cubicBezTo>
                      <a:cubicBezTo>
                        <a:pt x="19" y="62"/>
                        <a:pt x="18" y="62"/>
                        <a:pt x="17" y="61"/>
                      </a:cubicBezTo>
                      <a:cubicBezTo>
                        <a:pt x="25" y="0"/>
                        <a:pt x="25" y="0"/>
                        <a:pt x="25" y="0"/>
                      </a:cubicBezTo>
                    </a:path>
                  </a:pathLst>
                </a:custGeom>
                <a:solidFill>
                  <a:srgbClr val="E8C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7"/>
                <p:cNvSpPr>
                  <a:spLocks/>
                </p:cNvSpPr>
                <p:nvPr/>
              </p:nvSpPr>
              <p:spPr bwMode="auto">
                <a:xfrm>
                  <a:off x="2157413" y="2555876"/>
                  <a:ext cx="322263" cy="287338"/>
                </a:xfrm>
                <a:custGeom>
                  <a:avLst/>
                  <a:gdLst>
                    <a:gd name="T0" fmla="*/ 11 w 66"/>
                    <a:gd name="T1" fmla="*/ 0 h 59"/>
                    <a:gd name="T2" fmla="*/ 8 w 66"/>
                    <a:gd name="T3" fmla="*/ 2 h 59"/>
                    <a:gd name="T4" fmla="*/ 4 w 66"/>
                    <a:gd name="T5" fmla="*/ 20 h 59"/>
                    <a:gd name="T6" fmla="*/ 30 w 66"/>
                    <a:gd name="T7" fmla="*/ 57 h 59"/>
                    <a:gd name="T8" fmla="*/ 42 w 66"/>
                    <a:gd name="T9" fmla="*/ 59 h 59"/>
                    <a:gd name="T10" fmla="*/ 43 w 66"/>
                    <a:gd name="T11" fmla="*/ 59 h 59"/>
                    <a:gd name="T12" fmla="*/ 65 w 66"/>
                    <a:gd name="T13" fmla="*/ 27 h 59"/>
                    <a:gd name="T14" fmla="*/ 66 w 66"/>
                    <a:gd name="T15" fmla="*/ 13 h 59"/>
                    <a:gd name="T16" fmla="*/ 64 w 66"/>
                    <a:gd name="T17" fmla="*/ 9 h 59"/>
                    <a:gd name="T18" fmla="*/ 65 w 66"/>
                    <a:gd name="T19" fmla="*/ 14 h 59"/>
                    <a:gd name="T20" fmla="*/ 65 w 66"/>
                    <a:gd name="T21" fmla="*/ 15 h 59"/>
                    <a:gd name="T22" fmla="*/ 63 w 66"/>
                    <a:gd name="T23" fmla="*/ 27 h 59"/>
                    <a:gd name="T24" fmla="*/ 63 w 66"/>
                    <a:gd name="T25" fmla="*/ 27 h 59"/>
                    <a:gd name="T26" fmla="*/ 42 w 66"/>
                    <a:gd name="T27" fmla="*/ 57 h 59"/>
                    <a:gd name="T28" fmla="*/ 42 w 66"/>
                    <a:gd name="T29" fmla="*/ 57 h 59"/>
                    <a:gd name="T30" fmla="*/ 42 w 66"/>
                    <a:gd name="T31" fmla="*/ 57 h 59"/>
                    <a:gd name="T32" fmla="*/ 39 w 66"/>
                    <a:gd name="T33" fmla="*/ 57 h 59"/>
                    <a:gd name="T34" fmla="*/ 39 w 66"/>
                    <a:gd name="T35" fmla="*/ 57 h 59"/>
                    <a:gd name="T36" fmla="*/ 39 w 66"/>
                    <a:gd name="T37" fmla="*/ 57 h 59"/>
                    <a:gd name="T38" fmla="*/ 32 w 66"/>
                    <a:gd name="T39" fmla="*/ 56 h 59"/>
                    <a:gd name="T40" fmla="*/ 32 w 66"/>
                    <a:gd name="T41" fmla="*/ 56 h 59"/>
                    <a:gd name="T42" fmla="*/ 30 w 66"/>
                    <a:gd name="T43" fmla="*/ 55 h 59"/>
                    <a:gd name="T44" fmla="*/ 29 w 66"/>
                    <a:gd name="T45" fmla="*/ 55 h 59"/>
                    <a:gd name="T46" fmla="*/ 26 w 66"/>
                    <a:gd name="T47" fmla="*/ 54 h 59"/>
                    <a:gd name="T48" fmla="*/ 26 w 66"/>
                    <a:gd name="T49" fmla="*/ 54 h 59"/>
                    <a:gd name="T50" fmla="*/ 26 w 66"/>
                    <a:gd name="T51" fmla="*/ 54 h 59"/>
                    <a:gd name="T52" fmla="*/ 7 w 66"/>
                    <a:gd name="T53" fmla="*/ 42 h 59"/>
                    <a:gd name="T54" fmla="*/ 6 w 66"/>
                    <a:gd name="T55" fmla="*/ 20 h 59"/>
                    <a:gd name="T56" fmla="*/ 8 w 66"/>
                    <a:gd name="T57" fmla="*/ 11 h 59"/>
                    <a:gd name="T58" fmla="*/ 11 w 66"/>
                    <a:gd name="T59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6" h="59">
                      <a:moveTo>
                        <a:pt x="11" y="0"/>
                      </a:moveTo>
                      <a:cubicBezTo>
                        <a:pt x="10" y="1"/>
                        <a:pt x="9" y="1"/>
                        <a:pt x="8" y="2"/>
                      </a:cubicBezTo>
                      <a:cubicBezTo>
                        <a:pt x="7" y="7"/>
                        <a:pt x="6" y="13"/>
                        <a:pt x="4" y="20"/>
                      </a:cubicBezTo>
                      <a:cubicBezTo>
                        <a:pt x="0" y="43"/>
                        <a:pt x="5" y="53"/>
                        <a:pt x="30" y="57"/>
                      </a:cubicBezTo>
                      <a:cubicBezTo>
                        <a:pt x="35" y="58"/>
                        <a:pt x="39" y="59"/>
                        <a:pt x="42" y="59"/>
                      </a:cubicBezTo>
                      <a:cubicBezTo>
                        <a:pt x="43" y="59"/>
                        <a:pt x="43" y="59"/>
                        <a:pt x="43" y="59"/>
                      </a:cubicBezTo>
                      <a:cubicBezTo>
                        <a:pt x="57" y="58"/>
                        <a:pt x="61" y="50"/>
                        <a:pt x="65" y="27"/>
                      </a:cubicBezTo>
                      <a:cubicBezTo>
                        <a:pt x="66" y="22"/>
                        <a:pt x="66" y="17"/>
                        <a:pt x="66" y="13"/>
                      </a:cubicBezTo>
                      <a:cubicBezTo>
                        <a:pt x="66" y="12"/>
                        <a:pt x="65" y="11"/>
                        <a:pt x="64" y="9"/>
                      </a:cubicBezTo>
                      <a:cubicBezTo>
                        <a:pt x="64" y="11"/>
                        <a:pt x="65" y="13"/>
                        <a:pt x="65" y="14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65" y="18"/>
                        <a:pt x="64" y="22"/>
                        <a:pt x="63" y="2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59" y="49"/>
                        <a:pt x="56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41" y="57"/>
                        <a:pt x="40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9" y="57"/>
                        <a:pt x="39" y="57"/>
                        <a:pt x="39" y="57"/>
                      </a:cubicBezTo>
                      <a:cubicBezTo>
                        <a:pt x="37" y="56"/>
                        <a:pt x="35" y="56"/>
                        <a:pt x="32" y="56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1" y="56"/>
                        <a:pt x="31" y="55"/>
                        <a:pt x="30" y="55"/>
                      </a:cubicBezTo>
                      <a:cubicBezTo>
                        <a:pt x="30" y="55"/>
                        <a:pt x="30" y="55"/>
                        <a:pt x="29" y="55"/>
                      </a:cubicBezTo>
                      <a:cubicBezTo>
                        <a:pt x="28" y="55"/>
                        <a:pt x="27" y="55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26" y="54"/>
                        <a:pt x="26" y="54"/>
                        <a:pt x="26" y="54"/>
                      </a:cubicBezTo>
                      <a:cubicBezTo>
                        <a:pt x="15" y="52"/>
                        <a:pt x="9" y="48"/>
                        <a:pt x="7" y="42"/>
                      </a:cubicBezTo>
                      <a:cubicBezTo>
                        <a:pt x="4" y="37"/>
                        <a:pt x="4" y="29"/>
                        <a:pt x="6" y="20"/>
                      </a:cubicBezTo>
                      <a:cubicBezTo>
                        <a:pt x="6" y="17"/>
                        <a:pt x="7" y="14"/>
                        <a:pt x="8" y="11"/>
                      </a:cubicBezTo>
                      <a:cubicBezTo>
                        <a:pt x="9" y="7"/>
                        <a:pt x="10" y="3"/>
                        <a:pt x="11" y="0"/>
                      </a:cubicBezTo>
                    </a:path>
                  </a:pathLst>
                </a:custGeom>
                <a:solidFill>
                  <a:srgbClr val="B477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8"/>
                <p:cNvSpPr>
                  <a:spLocks noEditPoints="1"/>
                </p:cNvSpPr>
                <p:nvPr/>
              </p:nvSpPr>
              <p:spPr bwMode="auto">
                <a:xfrm>
                  <a:off x="2192338" y="2555876"/>
                  <a:ext cx="282575" cy="276225"/>
                </a:xfrm>
                <a:custGeom>
                  <a:avLst/>
                  <a:gdLst>
                    <a:gd name="T0" fmla="*/ 32 w 58"/>
                    <a:gd name="T1" fmla="*/ 57 h 57"/>
                    <a:gd name="T2" fmla="*/ 32 w 58"/>
                    <a:gd name="T3" fmla="*/ 57 h 57"/>
                    <a:gd name="T4" fmla="*/ 35 w 58"/>
                    <a:gd name="T5" fmla="*/ 57 h 57"/>
                    <a:gd name="T6" fmla="*/ 35 w 58"/>
                    <a:gd name="T7" fmla="*/ 57 h 57"/>
                    <a:gd name="T8" fmla="*/ 32 w 58"/>
                    <a:gd name="T9" fmla="*/ 57 h 57"/>
                    <a:gd name="T10" fmla="*/ 25 w 58"/>
                    <a:gd name="T11" fmla="*/ 56 h 57"/>
                    <a:gd name="T12" fmla="*/ 32 w 58"/>
                    <a:gd name="T13" fmla="*/ 57 h 57"/>
                    <a:gd name="T14" fmla="*/ 32 w 58"/>
                    <a:gd name="T15" fmla="*/ 57 h 57"/>
                    <a:gd name="T16" fmla="*/ 25 w 58"/>
                    <a:gd name="T17" fmla="*/ 56 h 57"/>
                    <a:gd name="T18" fmla="*/ 25 w 58"/>
                    <a:gd name="T19" fmla="*/ 56 h 57"/>
                    <a:gd name="T20" fmla="*/ 25 w 58"/>
                    <a:gd name="T21" fmla="*/ 56 h 57"/>
                    <a:gd name="T22" fmla="*/ 25 w 58"/>
                    <a:gd name="T23" fmla="*/ 56 h 57"/>
                    <a:gd name="T24" fmla="*/ 25 w 58"/>
                    <a:gd name="T25" fmla="*/ 56 h 57"/>
                    <a:gd name="T26" fmla="*/ 25 w 58"/>
                    <a:gd name="T27" fmla="*/ 56 h 57"/>
                    <a:gd name="T28" fmla="*/ 25 w 58"/>
                    <a:gd name="T29" fmla="*/ 56 h 57"/>
                    <a:gd name="T30" fmla="*/ 19 w 58"/>
                    <a:gd name="T31" fmla="*/ 54 h 57"/>
                    <a:gd name="T32" fmla="*/ 19 w 58"/>
                    <a:gd name="T33" fmla="*/ 54 h 57"/>
                    <a:gd name="T34" fmla="*/ 19 w 58"/>
                    <a:gd name="T35" fmla="*/ 54 h 57"/>
                    <a:gd name="T36" fmla="*/ 0 w 58"/>
                    <a:gd name="T37" fmla="*/ 42 h 57"/>
                    <a:gd name="T38" fmla="*/ 19 w 58"/>
                    <a:gd name="T39" fmla="*/ 54 h 57"/>
                    <a:gd name="T40" fmla="*/ 18 w 58"/>
                    <a:gd name="T41" fmla="*/ 54 h 57"/>
                    <a:gd name="T42" fmla="*/ 0 w 58"/>
                    <a:gd name="T43" fmla="*/ 42 h 57"/>
                    <a:gd name="T44" fmla="*/ 57 w 58"/>
                    <a:gd name="T45" fmla="*/ 9 h 57"/>
                    <a:gd name="T46" fmla="*/ 56 w 58"/>
                    <a:gd name="T47" fmla="*/ 27 h 57"/>
                    <a:gd name="T48" fmla="*/ 56 w 58"/>
                    <a:gd name="T49" fmla="*/ 27 h 57"/>
                    <a:gd name="T50" fmla="*/ 56 w 58"/>
                    <a:gd name="T51" fmla="*/ 27 h 57"/>
                    <a:gd name="T52" fmla="*/ 58 w 58"/>
                    <a:gd name="T53" fmla="*/ 15 h 57"/>
                    <a:gd name="T54" fmla="*/ 58 w 58"/>
                    <a:gd name="T55" fmla="*/ 14 h 57"/>
                    <a:gd name="T56" fmla="*/ 57 w 58"/>
                    <a:gd name="T57" fmla="*/ 9 h 57"/>
                    <a:gd name="T58" fmla="*/ 57 w 58"/>
                    <a:gd name="T59" fmla="*/ 9 h 57"/>
                    <a:gd name="T60" fmla="*/ 4 w 58"/>
                    <a:gd name="T61" fmla="*/ 0 h 57"/>
                    <a:gd name="T62" fmla="*/ 4 w 58"/>
                    <a:gd name="T63" fmla="*/ 0 h 57"/>
                    <a:gd name="T64" fmla="*/ 4 w 58"/>
                    <a:gd name="T65" fmla="*/ 0 h 57"/>
                    <a:gd name="T66" fmla="*/ 1 w 58"/>
                    <a:gd name="T67" fmla="*/ 11 h 57"/>
                    <a:gd name="T68" fmla="*/ 4 w 58"/>
                    <a:gd name="T69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8" h="57">
                      <a:moveTo>
                        <a:pt x="32" y="57"/>
                      </a:move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3" y="57"/>
                        <a:pt x="34" y="57"/>
                        <a:pt x="35" y="57"/>
                      </a:cubicBezTo>
                      <a:cubicBezTo>
                        <a:pt x="35" y="57"/>
                        <a:pt x="35" y="57"/>
                        <a:pt x="35" y="57"/>
                      </a:cubicBezTo>
                      <a:cubicBezTo>
                        <a:pt x="34" y="57"/>
                        <a:pt x="33" y="57"/>
                        <a:pt x="32" y="57"/>
                      </a:cubicBezTo>
                      <a:moveTo>
                        <a:pt x="25" y="56"/>
                      </a:moveTo>
                      <a:cubicBezTo>
                        <a:pt x="28" y="56"/>
                        <a:pt x="30" y="56"/>
                        <a:pt x="32" y="57"/>
                      </a:cubicBezTo>
                      <a:cubicBezTo>
                        <a:pt x="32" y="57"/>
                        <a:pt x="32" y="57"/>
                        <a:pt x="32" y="57"/>
                      </a:cubicBezTo>
                      <a:cubicBezTo>
                        <a:pt x="30" y="56"/>
                        <a:pt x="28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cubicBezTo>
                        <a:pt x="25" y="56"/>
                        <a:pt x="25" y="56"/>
                        <a:pt x="25" y="56"/>
                      </a:cubicBezTo>
                      <a:moveTo>
                        <a:pt x="19" y="54"/>
                      </a:move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moveTo>
                        <a:pt x="0" y="42"/>
                      </a:moveTo>
                      <a:cubicBezTo>
                        <a:pt x="2" y="48"/>
                        <a:pt x="8" y="52"/>
                        <a:pt x="19" y="54"/>
                      </a:cubicBezTo>
                      <a:cubicBezTo>
                        <a:pt x="18" y="54"/>
                        <a:pt x="18" y="54"/>
                        <a:pt x="18" y="54"/>
                      </a:cubicBezTo>
                      <a:cubicBezTo>
                        <a:pt x="8" y="52"/>
                        <a:pt x="2" y="48"/>
                        <a:pt x="0" y="42"/>
                      </a:cubicBezTo>
                      <a:moveTo>
                        <a:pt x="57" y="9"/>
                      </a:moveTo>
                      <a:cubicBezTo>
                        <a:pt x="58" y="14"/>
                        <a:pt x="58" y="20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57" y="22"/>
                        <a:pt x="58" y="18"/>
                        <a:pt x="58" y="15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8" y="13"/>
                        <a:pt x="57" y="11"/>
                        <a:pt x="57" y="9"/>
                      </a:cubicBezTo>
                      <a:cubicBezTo>
                        <a:pt x="57" y="9"/>
                        <a:pt x="57" y="9"/>
                        <a:pt x="57" y="9"/>
                      </a:cubicBezTo>
                      <a:moveTo>
                        <a:pt x="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"/>
                        <a:pt x="2" y="7"/>
                        <a:pt x="1" y="11"/>
                      </a:cubicBezTo>
                      <a:cubicBezTo>
                        <a:pt x="2" y="7"/>
                        <a:pt x="3" y="3"/>
                        <a:pt x="4" y="0"/>
                      </a:cubicBezTo>
                    </a:path>
                  </a:pathLst>
                </a:custGeom>
                <a:solidFill>
                  <a:srgbClr val="BD8B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9"/>
                <p:cNvSpPr>
                  <a:spLocks/>
                </p:cNvSpPr>
                <p:nvPr/>
              </p:nvSpPr>
              <p:spPr bwMode="auto">
                <a:xfrm>
                  <a:off x="1870076" y="3154363"/>
                  <a:ext cx="536575" cy="730250"/>
                </a:xfrm>
                <a:custGeom>
                  <a:avLst/>
                  <a:gdLst>
                    <a:gd name="T0" fmla="*/ 45 w 110"/>
                    <a:gd name="T1" fmla="*/ 0 h 150"/>
                    <a:gd name="T2" fmla="*/ 39 w 110"/>
                    <a:gd name="T3" fmla="*/ 14 h 150"/>
                    <a:gd name="T4" fmla="*/ 10 w 110"/>
                    <a:gd name="T5" fmla="*/ 113 h 150"/>
                    <a:gd name="T6" fmla="*/ 0 w 110"/>
                    <a:gd name="T7" fmla="*/ 139 h 150"/>
                    <a:gd name="T8" fmla="*/ 0 w 110"/>
                    <a:gd name="T9" fmla="*/ 139 h 150"/>
                    <a:gd name="T10" fmla="*/ 8 w 110"/>
                    <a:gd name="T11" fmla="*/ 150 h 150"/>
                    <a:gd name="T12" fmla="*/ 20 w 110"/>
                    <a:gd name="T13" fmla="*/ 144 h 150"/>
                    <a:gd name="T14" fmla="*/ 55 w 110"/>
                    <a:gd name="T15" fmla="*/ 108 h 150"/>
                    <a:gd name="T16" fmla="*/ 69 w 110"/>
                    <a:gd name="T17" fmla="*/ 111 h 150"/>
                    <a:gd name="T18" fmla="*/ 94 w 110"/>
                    <a:gd name="T19" fmla="*/ 118 h 150"/>
                    <a:gd name="T20" fmla="*/ 101 w 110"/>
                    <a:gd name="T21" fmla="*/ 101 h 150"/>
                    <a:gd name="T22" fmla="*/ 108 w 110"/>
                    <a:gd name="T23" fmla="*/ 17 h 150"/>
                    <a:gd name="T24" fmla="*/ 110 w 110"/>
                    <a:gd name="T25" fmla="*/ 11 h 150"/>
                    <a:gd name="T26" fmla="*/ 110 w 110"/>
                    <a:gd name="T27" fmla="*/ 11 h 150"/>
                    <a:gd name="T28" fmla="*/ 106 w 110"/>
                    <a:gd name="T29" fmla="*/ 8 h 150"/>
                    <a:gd name="T30" fmla="*/ 74 w 110"/>
                    <a:gd name="T31" fmla="*/ 12 h 150"/>
                    <a:gd name="T32" fmla="*/ 45 w 110"/>
                    <a:gd name="T33" fmla="*/ 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0" h="150">
                      <a:moveTo>
                        <a:pt x="45" y="0"/>
                      </a:moveTo>
                      <a:cubicBezTo>
                        <a:pt x="42" y="0"/>
                        <a:pt x="40" y="3"/>
                        <a:pt x="39" y="14"/>
                      </a:cubicBezTo>
                      <a:cubicBezTo>
                        <a:pt x="36" y="45"/>
                        <a:pt x="30" y="79"/>
                        <a:pt x="10" y="113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0" y="146"/>
                        <a:pt x="3" y="150"/>
                        <a:pt x="8" y="150"/>
                      </a:cubicBezTo>
                      <a:cubicBezTo>
                        <a:pt x="11" y="150"/>
                        <a:pt x="16" y="148"/>
                        <a:pt x="20" y="144"/>
                      </a:cubicBezTo>
                      <a:cubicBezTo>
                        <a:pt x="32" y="131"/>
                        <a:pt x="35" y="108"/>
                        <a:pt x="55" y="108"/>
                      </a:cubicBezTo>
                      <a:cubicBezTo>
                        <a:pt x="58" y="108"/>
                        <a:pt x="63" y="109"/>
                        <a:pt x="69" y="111"/>
                      </a:cubicBezTo>
                      <a:cubicBezTo>
                        <a:pt x="81" y="116"/>
                        <a:pt x="89" y="118"/>
                        <a:pt x="94" y="118"/>
                      </a:cubicBezTo>
                      <a:cubicBezTo>
                        <a:pt x="103" y="118"/>
                        <a:pt x="104" y="112"/>
                        <a:pt x="101" y="101"/>
                      </a:cubicBezTo>
                      <a:cubicBezTo>
                        <a:pt x="97" y="83"/>
                        <a:pt x="100" y="35"/>
                        <a:pt x="108" y="17"/>
                      </a:cubicBezTo>
                      <a:cubicBezTo>
                        <a:pt x="110" y="14"/>
                        <a:pt x="110" y="13"/>
                        <a:pt x="110" y="11"/>
                      </a:cubicBezTo>
                      <a:cubicBezTo>
                        <a:pt x="110" y="11"/>
                        <a:pt x="110" y="11"/>
                        <a:pt x="110" y="11"/>
                      </a:cubicBezTo>
                      <a:cubicBezTo>
                        <a:pt x="110" y="9"/>
                        <a:pt x="109" y="8"/>
                        <a:pt x="106" y="8"/>
                      </a:cubicBezTo>
                      <a:cubicBezTo>
                        <a:pt x="99" y="8"/>
                        <a:pt x="87" y="12"/>
                        <a:pt x="74" y="12"/>
                      </a:cubicBezTo>
                      <a:cubicBezTo>
                        <a:pt x="61" y="12"/>
                        <a:pt x="51" y="0"/>
                        <a:pt x="45" y="0"/>
                      </a:cubicBezTo>
                    </a:path>
                  </a:pathLst>
                </a:custGeom>
                <a:solidFill>
                  <a:srgbClr val="DBAB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80"/>
                <p:cNvSpPr>
                  <a:spLocks/>
                </p:cNvSpPr>
                <p:nvPr/>
              </p:nvSpPr>
              <p:spPr bwMode="auto">
                <a:xfrm>
                  <a:off x="1874838" y="4546601"/>
                  <a:ext cx="584200" cy="1465263"/>
                </a:xfrm>
                <a:custGeom>
                  <a:avLst/>
                  <a:gdLst>
                    <a:gd name="T0" fmla="*/ 120 w 120"/>
                    <a:gd name="T1" fmla="*/ 0 h 301"/>
                    <a:gd name="T2" fmla="*/ 120 w 120"/>
                    <a:gd name="T3" fmla="*/ 0 h 301"/>
                    <a:gd name="T4" fmla="*/ 69 w 120"/>
                    <a:gd name="T5" fmla="*/ 86 h 301"/>
                    <a:gd name="T6" fmla="*/ 1 w 120"/>
                    <a:gd name="T7" fmla="*/ 275 h 301"/>
                    <a:gd name="T8" fmla="*/ 0 w 120"/>
                    <a:gd name="T9" fmla="*/ 301 h 301"/>
                    <a:gd name="T10" fmla="*/ 31 w 120"/>
                    <a:gd name="T11" fmla="*/ 301 h 301"/>
                    <a:gd name="T12" fmla="*/ 62 w 120"/>
                    <a:gd name="T13" fmla="*/ 169 h 301"/>
                    <a:gd name="T14" fmla="*/ 119 w 120"/>
                    <a:gd name="T15" fmla="*/ 3 h 301"/>
                    <a:gd name="T16" fmla="*/ 120 w 120"/>
                    <a:gd name="T17" fmla="*/ 1 h 301"/>
                    <a:gd name="T18" fmla="*/ 120 w 120"/>
                    <a:gd name="T19" fmla="*/ 0 h 301"/>
                    <a:gd name="T20" fmla="*/ 120 w 120"/>
                    <a:gd name="T21" fmla="*/ 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301">
                      <a:moveTo>
                        <a:pt x="120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18" y="1"/>
                        <a:pt x="92" y="51"/>
                        <a:pt x="69" y="86"/>
                      </a:cubicBezTo>
                      <a:cubicBezTo>
                        <a:pt x="43" y="126"/>
                        <a:pt x="9" y="188"/>
                        <a:pt x="1" y="275"/>
                      </a:cubicBezTo>
                      <a:cubicBezTo>
                        <a:pt x="1" y="283"/>
                        <a:pt x="0" y="292"/>
                        <a:pt x="0" y="301"/>
                      </a:cubicBezTo>
                      <a:cubicBezTo>
                        <a:pt x="31" y="301"/>
                        <a:pt x="31" y="301"/>
                        <a:pt x="31" y="301"/>
                      </a:cubicBezTo>
                      <a:cubicBezTo>
                        <a:pt x="38" y="229"/>
                        <a:pt x="52" y="204"/>
                        <a:pt x="62" y="169"/>
                      </a:cubicBezTo>
                      <a:cubicBezTo>
                        <a:pt x="73" y="124"/>
                        <a:pt x="116" y="30"/>
                        <a:pt x="119" y="3"/>
                      </a:cubicBezTo>
                      <a:cubicBezTo>
                        <a:pt x="120" y="2"/>
                        <a:pt x="120" y="1"/>
                        <a:pt x="120" y="1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</a:path>
                  </a:pathLst>
                </a:custGeom>
                <a:solidFill>
                  <a:srgbClr val="E0B29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8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1 w 3"/>
                    <a:gd name="T3" fmla="*/ 0 h 1"/>
                    <a:gd name="T4" fmla="*/ 3 w 3"/>
                    <a:gd name="T5" fmla="*/ 1 h 1"/>
                    <a:gd name="T6" fmla="*/ 1 w 3"/>
                    <a:gd name="T7" fmla="*/ 0 h 1"/>
                    <a:gd name="T8" fmla="*/ 1 w 3"/>
                    <a:gd name="T9" fmla="*/ 0 h 1"/>
                    <a:gd name="T10" fmla="*/ 1 w 3"/>
                    <a:gd name="T11" fmla="*/ 0 h 1"/>
                    <a:gd name="T12" fmla="*/ 1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82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3 w 3"/>
                    <a:gd name="T3" fmla="*/ 3 w 3"/>
                    <a:gd name="T4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83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9525" cy="0"/>
                </a:xfrm>
                <a:custGeom>
                  <a:avLst/>
                  <a:gdLst>
                    <a:gd name="T0" fmla="*/ 1 w 2"/>
                    <a:gd name="T1" fmla="*/ 2 w 2"/>
                    <a:gd name="T2" fmla="*/ 2 w 2"/>
                    <a:gd name="T3" fmla="*/ 1 w 2"/>
                    <a:gd name="T4" fmla="*/ 0 w 2"/>
                    <a:gd name="T5" fmla="*/ 1 w 2"/>
                    <a:gd name="T6" fmla="*/ 0 w 2"/>
                    <a:gd name="T7" fmla="*/ 0 w 2"/>
                    <a:gd name="T8" fmla="*/ 0 w 2"/>
                    <a:gd name="T9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2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auto">
                <a:xfrm>
                  <a:off x="2347913" y="2501901"/>
                  <a:ext cx="14288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8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8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7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9"/>
                <p:cNvSpPr>
                  <a:spLocks/>
                </p:cNvSpPr>
                <p:nvPr/>
              </p:nvSpPr>
              <p:spPr bwMode="auto">
                <a:xfrm>
                  <a:off x="2303463" y="2822576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0 h 1"/>
                    <a:gd name="T8" fmla="*/ 0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4" name="Freeform 90"/>
                <p:cNvSpPr>
                  <a:spLocks noEditPoints="1"/>
                </p:cNvSpPr>
                <p:nvPr/>
              </p:nvSpPr>
              <p:spPr bwMode="auto">
                <a:xfrm>
                  <a:off x="2303463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  <a:gd name="T4" fmla="*/ 0 w 1"/>
                    <a:gd name="T5" fmla="*/ 0 w 1"/>
                    <a:gd name="T6" fmla="*/ 0 w 1"/>
                    <a:gd name="T7" fmla="*/ 0 w 1"/>
                    <a:gd name="T8" fmla="*/ 0 w 1"/>
                    <a:gd name="T9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91"/>
                <p:cNvSpPr>
                  <a:spLocks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92"/>
                <p:cNvSpPr>
                  <a:spLocks/>
                </p:cNvSpPr>
                <p:nvPr/>
              </p:nvSpPr>
              <p:spPr bwMode="auto">
                <a:xfrm>
                  <a:off x="2328863" y="2827338"/>
                  <a:ext cx="4763" cy="0"/>
                </a:xfrm>
                <a:custGeom>
                  <a:avLst/>
                  <a:gdLst>
                    <a:gd name="T0" fmla="*/ 0 w 1"/>
                    <a:gd name="T1" fmla="*/ 1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93"/>
                <p:cNvSpPr>
                  <a:spLocks noEditPoints="1"/>
                </p:cNvSpPr>
                <p:nvPr/>
              </p:nvSpPr>
              <p:spPr bwMode="auto">
                <a:xfrm>
                  <a:off x="2338388" y="2497138"/>
                  <a:ext cx="0" cy="4763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  <a:gd name="T4" fmla="*/ 0 h 1"/>
                    <a:gd name="T5" fmla="*/ 0 h 1"/>
                    <a:gd name="T6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94"/>
                <p:cNvSpPr>
                  <a:spLocks/>
                </p:cNvSpPr>
                <p:nvPr/>
              </p:nvSpPr>
              <p:spPr bwMode="auto">
                <a:xfrm>
                  <a:off x="2303463" y="2497138"/>
                  <a:ext cx="34925" cy="19050"/>
                </a:xfrm>
                <a:custGeom>
                  <a:avLst/>
                  <a:gdLst>
                    <a:gd name="T0" fmla="*/ 1 w 7"/>
                    <a:gd name="T1" fmla="*/ 0 h 4"/>
                    <a:gd name="T2" fmla="*/ 0 w 7"/>
                    <a:gd name="T3" fmla="*/ 0 h 4"/>
                    <a:gd name="T4" fmla="*/ 0 w 7"/>
                    <a:gd name="T5" fmla="*/ 4 h 4"/>
                    <a:gd name="T6" fmla="*/ 3 w 7"/>
                    <a:gd name="T7" fmla="*/ 4 h 4"/>
                    <a:gd name="T8" fmla="*/ 3 w 7"/>
                    <a:gd name="T9" fmla="*/ 0 h 4"/>
                    <a:gd name="T10" fmla="*/ 6 w 7"/>
                    <a:gd name="T11" fmla="*/ 0 h 4"/>
                    <a:gd name="T12" fmla="*/ 6 w 7"/>
                    <a:gd name="T13" fmla="*/ 0 h 4"/>
                    <a:gd name="T14" fmla="*/ 7 w 7"/>
                    <a:gd name="T15" fmla="*/ 0 h 4"/>
                    <a:gd name="T16" fmla="*/ 7 w 7"/>
                    <a:gd name="T17" fmla="*/ 0 h 4"/>
                    <a:gd name="T18" fmla="*/ 7 w 7"/>
                    <a:gd name="T19" fmla="*/ 0 h 4"/>
                    <a:gd name="T20" fmla="*/ 7 w 7"/>
                    <a:gd name="T21" fmla="*/ 0 h 4"/>
                    <a:gd name="T22" fmla="*/ 7 w 7"/>
                    <a:gd name="T23" fmla="*/ 0 h 4"/>
                    <a:gd name="T24" fmla="*/ 1 w 7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5" y="0"/>
                        <a:pt x="3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95"/>
                <p:cNvSpPr>
                  <a:spLocks/>
                </p:cNvSpPr>
                <p:nvPr/>
              </p:nvSpPr>
              <p:spPr bwMode="auto">
                <a:xfrm>
                  <a:off x="2265363" y="2516188"/>
                  <a:ext cx="52388" cy="306388"/>
                </a:xfrm>
                <a:custGeom>
                  <a:avLst/>
                  <a:gdLst>
                    <a:gd name="T0" fmla="*/ 11 w 11"/>
                    <a:gd name="T1" fmla="*/ 0 h 63"/>
                    <a:gd name="T2" fmla="*/ 8 w 11"/>
                    <a:gd name="T3" fmla="*/ 0 h 63"/>
                    <a:gd name="T4" fmla="*/ 0 w 11"/>
                    <a:gd name="T5" fmla="*/ 61 h 63"/>
                    <a:gd name="T6" fmla="*/ 3 w 11"/>
                    <a:gd name="T7" fmla="*/ 62 h 63"/>
                    <a:gd name="T8" fmla="*/ 6 w 11"/>
                    <a:gd name="T9" fmla="*/ 63 h 63"/>
                    <a:gd name="T10" fmla="*/ 3 w 11"/>
                    <a:gd name="T11" fmla="*/ 62 h 63"/>
                    <a:gd name="T12" fmla="*/ 11 w 11"/>
                    <a:gd name="T13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3">
                      <a:moveTo>
                        <a:pt x="11" y="0"/>
                      </a:moveTo>
                      <a:cubicBezTo>
                        <a:pt x="10" y="0"/>
                        <a:pt x="9" y="0"/>
                        <a:pt x="8" y="0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1" y="62"/>
                        <a:pt x="2" y="62"/>
                        <a:pt x="3" y="62"/>
                      </a:cubicBezTo>
                      <a:cubicBezTo>
                        <a:pt x="4" y="62"/>
                        <a:pt x="5" y="63"/>
                        <a:pt x="6" y="63"/>
                      </a:cubicBezTo>
                      <a:cubicBezTo>
                        <a:pt x="5" y="63"/>
                        <a:pt x="4" y="62"/>
                        <a:pt x="3" y="62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96"/>
                <p:cNvSpPr>
                  <a:spLocks noEditPoints="1"/>
                </p:cNvSpPr>
                <p:nvPr/>
              </p:nvSpPr>
              <p:spPr bwMode="auto">
                <a:xfrm>
                  <a:off x="2284413" y="2817813"/>
                  <a:ext cx="14288" cy="4763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3 w 3"/>
                    <a:gd name="T7" fmla="*/ 1 h 1"/>
                    <a:gd name="T8" fmla="*/ 0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0 w 3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cubicBezTo>
                        <a:pt x="1" y="1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1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7"/>
                <p:cNvSpPr>
                  <a:spLocks/>
                </p:cNvSpPr>
                <p:nvPr/>
              </p:nvSpPr>
              <p:spPr bwMode="auto">
                <a:xfrm>
                  <a:off x="2279651" y="2817813"/>
                  <a:ext cx="19050" cy="4763"/>
                </a:xfrm>
                <a:custGeom>
                  <a:avLst/>
                  <a:gdLst>
                    <a:gd name="T0" fmla="*/ 0 w 4"/>
                    <a:gd name="T1" fmla="*/ 0 h 1"/>
                    <a:gd name="T2" fmla="*/ 1 w 4"/>
                    <a:gd name="T3" fmla="*/ 0 h 1"/>
                    <a:gd name="T4" fmla="*/ 1 w 4"/>
                    <a:gd name="T5" fmla="*/ 0 h 1"/>
                    <a:gd name="T6" fmla="*/ 1 w 4"/>
                    <a:gd name="T7" fmla="*/ 0 h 1"/>
                    <a:gd name="T8" fmla="*/ 4 w 4"/>
                    <a:gd name="T9" fmla="*/ 1 h 1"/>
                    <a:gd name="T10" fmla="*/ 3 w 4"/>
                    <a:gd name="T11" fmla="*/ 1 h 1"/>
                    <a:gd name="T12" fmla="*/ 0 w 4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">
                      <a:moveTo>
                        <a:pt x="0" y="0"/>
                      </a:move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4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8"/>
                <p:cNvSpPr>
                  <a:spLocks/>
                </p:cNvSpPr>
                <p:nvPr/>
              </p:nvSpPr>
              <p:spPr bwMode="auto">
                <a:xfrm>
                  <a:off x="2371726" y="2506663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1 w 4"/>
                    <a:gd name="T3" fmla="*/ 0 h 4"/>
                    <a:gd name="T4" fmla="*/ 0 w 4"/>
                    <a:gd name="T5" fmla="*/ 3 h 4"/>
                    <a:gd name="T6" fmla="*/ 2 w 4"/>
                    <a:gd name="T7" fmla="*/ 3 h 4"/>
                    <a:gd name="T8" fmla="*/ 3 w 4"/>
                    <a:gd name="T9" fmla="*/ 4 h 4"/>
                    <a:gd name="T10" fmla="*/ 4 w 4"/>
                    <a:gd name="T11" fmla="*/ 1 h 4"/>
                    <a:gd name="T12" fmla="*/ 1 w 4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2" y="3"/>
                        <a:pt x="2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96949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9"/>
                <p:cNvSpPr>
                  <a:spLocks/>
                </p:cNvSpPr>
                <p:nvPr/>
              </p:nvSpPr>
              <p:spPr bwMode="auto">
                <a:xfrm>
                  <a:off x="2381251" y="2520951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9491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100"/>
                <p:cNvSpPr>
                  <a:spLocks/>
                </p:cNvSpPr>
                <p:nvPr/>
              </p:nvSpPr>
              <p:spPr bwMode="auto">
                <a:xfrm>
                  <a:off x="2333626" y="2520951"/>
                  <a:ext cx="52388" cy="311150"/>
                </a:xfrm>
                <a:custGeom>
                  <a:avLst/>
                  <a:gdLst>
                    <a:gd name="T0" fmla="*/ 8 w 11"/>
                    <a:gd name="T1" fmla="*/ 0 h 64"/>
                    <a:gd name="T2" fmla="*/ 0 w 11"/>
                    <a:gd name="T3" fmla="*/ 63 h 64"/>
                    <a:gd name="T4" fmla="*/ 3 w 11"/>
                    <a:gd name="T5" fmla="*/ 64 h 64"/>
                    <a:gd name="T6" fmla="*/ 3 w 11"/>
                    <a:gd name="T7" fmla="*/ 64 h 64"/>
                    <a:gd name="T8" fmla="*/ 11 w 11"/>
                    <a:gd name="T9" fmla="*/ 1 h 64"/>
                    <a:gd name="T10" fmla="*/ 10 w 11"/>
                    <a:gd name="T11" fmla="*/ 0 h 64"/>
                    <a:gd name="T12" fmla="*/ 8 w 11"/>
                    <a:gd name="T13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1" y="63"/>
                        <a:pt x="2" y="64"/>
                        <a:pt x="3" y="64"/>
                      </a:cubicBezTo>
                      <a:cubicBezTo>
                        <a:pt x="3" y="64"/>
                        <a:pt x="3" y="64"/>
                        <a:pt x="3" y="64"/>
                      </a:cubicBezTo>
                      <a:cubicBezTo>
                        <a:pt x="11" y="1"/>
                        <a:pt x="11" y="1"/>
                        <a:pt x="11" y="1"/>
                      </a:cubicBezTo>
                      <a:cubicBezTo>
                        <a:pt x="11" y="1"/>
                        <a:pt x="11" y="1"/>
                        <a:pt x="10" y="0"/>
                      </a:cubicBezTo>
                      <a:cubicBezTo>
                        <a:pt x="10" y="0"/>
                        <a:pt x="9" y="0"/>
                        <a:pt x="8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101"/>
                <p:cNvSpPr>
                  <a:spLocks/>
                </p:cNvSpPr>
                <p:nvPr/>
              </p:nvSpPr>
              <p:spPr bwMode="auto">
                <a:xfrm>
                  <a:off x="2347913" y="28321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697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Oval 102"/>
                <p:cNvSpPr>
                  <a:spLocks noChangeArrowheads="1"/>
                </p:cNvSpPr>
                <p:nvPr/>
              </p:nvSpPr>
              <p:spPr bwMode="auto">
                <a:xfrm>
                  <a:off x="2347913" y="2832101"/>
                  <a:ext cx="1588" cy="1588"/>
                </a:xfrm>
                <a:prstGeom prst="ellipse">
                  <a:avLst/>
                </a:pr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103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104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4763" cy="0"/>
                </a:xfrm>
                <a:custGeom>
                  <a:avLst/>
                  <a:gdLst>
                    <a:gd name="T0" fmla="*/ 0 w 1"/>
                    <a:gd name="T1" fmla="*/ 0 w 1"/>
                    <a:gd name="T2" fmla="*/ 1 w 1"/>
                    <a:gd name="T3" fmla="*/ 0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05"/>
                <p:cNvSpPr>
                  <a:spLocks noEditPoints="1"/>
                </p:cNvSpPr>
                <p:nvPr/>
              </p:nvSpPr>
              <p:spPr bwMode="auto">
                <a:xfrm>
                  <a:off x="2338388" y="2501901"/>
                  <a:ext cx="23813" cy="0"/>
                </a:xfrm>
                <a:custGeom>
                  <a:avLst/>
                  <a:gdLst>
                    <a:gd name="T0" fmla="*/ 5 w 5"/>
                    <a:gd name="T1" fmla="*/ 5 w 5"/>
                    <a:gd name="T2" fmla="*/ 5 w 5"/>
                    <a:gd name="T3" fmla="*/ 5 w 5"/>
                    <a:gd name="T4" fmla="*/ 5 w 5"/>
                    <a:gd name="T5" fmla="*/ 5 w 5"/>
                    <a:gd name="T6" fmla="*/ 1 w 5"/>
                    <a:gd name="T7" fmla="*/ 1 w 5"/>
                    <a:gd name="T8" fmla="*/ 1 w 5"/>
                    <a:gd name="T9" fmla="*/ 0 w 5"/>
                    <a:gd name="T10" fmla="*/ 0 w 5"/>
                    <a:gd name="T11" fmla="*/ 0 w 5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  <a:cxn ang="0">
                      <a:pos x="T9" y="0"/>
                    </a:cxn>
                    <a:cxn ang="0">
                      <a:pos x="T10" y="0"/>
                    </a:cxn>
                    <a:cxn ang="0">
                      <a:pos x="T11" y="0"/>
                    </a:cxn>
                  </a:cxnLst>
                  <a:rect l="0" t="0" r="r" b="b"/>
                  <a:pathLst>
                    <a:path w="5">
                      <a:moveTo>
                        <a:pt x="5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4F4E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06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7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15875" cy="0"/>
                </a:xfrm>
                <a:custGeom>
                  <a:avLst/>
                  <a:gdLst>
                    <a:gd name="T0" fmla="*/ 0 w 3"/>
                    <a:gd name="T1" fmla="*/ 0 w 3"/>
                    <a:gd name="T2" fmla="*/ 0 w 3"/>
                    <a:gd name="T3" fmla="*/ 0 w 3"/>
                    <a:gd name="T4" fmla="*/ 3 w 3"/>
                    <a:gd name="T5" fmla="*/ 0 w 3"/>
                    <a:gd name="T6" fmla="*/ 0 w 3"/>
                    <a:gd name="T7" fmla="*/ 0 w 3"/>
                    <a:gd name="T8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  <a:cxn ang="0">
                      <a:pos x="T6" y="0"/>
                    </a:cxn>
                    <a:cxn ang="0">
                      <a:pos x="T7" y="0"/>
                    </a:cxn>
                    <a:cxn ang="0">
                      <a:pos x="T8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DD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CDA7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9"/>
                <p:cNvSpPr>
                  <a:spLocks/>
                </p:cNvSpPr>
                <p:nvPr/>
              </p:nvSpPr>
              <p:spPr bwMode="auto">
                <a:xfrm>
                  <a:off x="2317751" y="2497138"/>
                  <a:ext cx="15875" cy="19050"/>
                </a:xfrm>
                <a:custGeom>
                  <a:avLst/>
                  <a:gdLst>
                    <a:gd name="T0" fmla="*/ 0 w 3"/>
                    <a:gd name="T1" fmla="*/ 0 h 4"/>
                    <a:gd name="T2" fmla="*/ 0 w 3"/>
                    <a:gd name="T3" fmla="*/ 4 h 4"/>
                    <a:gd name="T4" fmla="*/ 1 w 3"/>
                    <a:gd name="T5" fmla="*/ 4 h 4"/>
                    <a:gd name="T6" fmla="*/ 3 w 3"/>
                    <a:gd name="T7" fmla="*/ 4 h 4"/>
                    <a:gd name="T8" fmla="*/ 3 w 3"/>
                    <a:gd name="T9" fmla="*/ 0 h 4"/>
                    <a:gd name="T10" fmla="*/ 0 w 3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3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10"/>
                <p:cNvSpPr>
                  <a:spLocks/>
                </p:cNvSpPr>
                <p:nvPr/>
              </p:nvSpPr>
              <p:spPr bwMode="auto">
                <a:xfrm>
                  <a:off x="2279651" y="2516188"/>
                  <a:ext cx="53975" cy="306388"/>
                </a:xfrm>
                <a:custGeom>
                  <a:avLst/>
                  <a:gdLst>
                    <a:gd name="T0" fmla="*/ 9 w 11"/>
                    <a:gd name="T1" fmla="*/ 0 h 63"/>
                    <a:gd name="T2" fmla="*/ 8 w 11"/>
                    <a:gd name="T3" fmla="*/ 0 h 63"/>
                    <a:gd name="T4" fmla="*/ 0 w 11"/>
                    <a:gd name="T5" fmla="*/ 62 h 63"/>
                    <a:gd name="T6" fmla="*/ 3 w 11"/>
                    <a:gd name="T7" fmla="*/ 63 h 63"/>
                    <a:gd name="T8" fmla="*/ 4 w 11"/>
                    <a:gd name="T9" fmla="*/ 63 h 63"/>
                    <a:gd name="T10" fmla="*/ 3 w 11"/>
                    <a:gd name="T11" fmla="*/ 63 h 63"/>
                    <a:gd name="T12" fmla="*/ 3 w 11"/>
                    <a:gd name="T13" fmla="*/ 63 h 63"/>
                    <a:gd name="T14" fmla="*/ 11 w 11"/>
                    <a:gd name="T15" fmla="*/ 0 h 63"/>
                    <a:gd name="T16" fmla="*/ 9 w 11"/>
                    <a:gd name="T17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63">
                      <a:moveTo>
                        <a:pt x="9" y="0"/>
                      </a:move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1" y="62"/>
                        <a:pt x="2" y="63"/>
                        <a:pt x="3" y="63"/>
                      </a:cubicBezTo>
                      <a:cubicBezTo>
                        <a:pt x="3" y="63"/>
                        <a:pt x="3" y="63"/>
                        <a:pt x="4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3" y="63"/>
                        <a:pt x="3" y="63"/>
                        <a:pt x="3" y="63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11"/>
                <p:cNvSpPr>
                  <a:spLocks/>
                </p:cNvSpPr>
                <p:nvPr/>
              </p:nvSpPr>
              <p:spPr bwMode="auto">
                <a:xfrm>
                  <a:off x="2298701" y="282257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Oval 112"/>
                <p:cNvSpPr>
                  <a:spLocks noChangeArrowheads="1"/>
                </p:cNvSpPr>
                <p:nvPr/>
              </p:nvSpPr>
              <p:spPr bwMode="auto">
                <a:xfrm>
                  <a:off x="2293938" y="2822576"/>
                  <a:ext cx="4763" cy="1588"/>
                </a:xfrm>
                <a:prstGeom prst="ellipse">
                  <a:avLst/>
                </a:pr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13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9525" cy="4763"/>
                </a:xfrm>
                <a:custGeom>
                  <a:avLst/>
                  <a:gdLst>
                    <a:gd name="T0" fmla="*/ 0 w 2"/>
                    <a:gd name="T1" fmla="*/ 0 h 1"/>
                    <a:gd name="T2" fmla="*/ 1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1 h 1"/>
                    <a:gd name="T10" fmla="*/ 0 w 2"/>
                    <a:gd name="T11" fmla="*/ 1 h 1"/>
                    <a:gd name="T12" fmla="*/ 0 w 2"/>
                    <a:gd name="T13" fmla="*/ 1 h 1"/>
                    <a:gd name="T14" fmla="*/ 0 w 2"/>
                    <a:gd name="T15" fmla="*/ 1 h 1"/>
                    <a:gd name="T16" fmla="*/ 0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14"/>
                <p:cNvSpPr>
                  <a:spLocks/>
                </p:cNvSpPr>
                <p:nvPr/>
              </p:nvSpPr>
              <p:spPr bwMode="auto">
                <a:xfrm>
                  <a:off x="2338388" y="2497138"/>
                  <a:ext cx="4763" cy="4763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15"/>
                <p:cNvSpPr>
                  <a:spLocks/>
                </p:cNvSpPr>
                <p:nvPr/>
              </p:nvSpPr>
              <p:spPr bwMode="auto">
                <a:xfrm>
                  <a:off x="2362201" y="250190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7673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16"/>
                <p:cNvSpPr>
                  <a:spLocks/>
                </p:cNvSpPr>
                <p:nvPr/>
              </p:nvSpPr>
              <p:spPr bwMode="auto">
                <a:xfrm>
                  <a:off x="2357438" y="2501901"/>
                  <a:ext cx="19050" cy="19050"/>
                </a:xfrm>
                <a:custGeom>
                  <a:avLst/>
                  <a:gdLst>
                    <a:gd name="T0" fmla="*/ 1 w 4"/>
                    <a:gd name="T1" fmla="*/ 0 h 4"/>
                    <a:gd name="T2" fmla="*/ 0 w 4"/>
                    <a:gd name="T3" fmla="*/ 3 h 4"/>
                    <a:gd name="T4" fmla="*/ 1 w 4"/>
                    <a:gd name="T5" fmla="*/ 3 h 4"/>
                    <a:gd name="T6" fmla="*/ 3 w 4"/>
                    <a:gd name="T7" fmla="*/ 4 h 4"/>
                    <a:gd name="T8" fmla="*/ 4 w 4"/>
                    <a:gd name="T9" fmla="*/ 1 h 4"/>
                    <a:gd name="T10" fmla="*/ 4 w 4"/>
                    <a:gd name="T11" fmla="*/ 1 h 4"/>
                    <a:gd name="T12" fmla="*/ 1 w 4"/>
                    <a:gd name="T13" fmla="*/ 0 h 4"/>
                    <a:gd name="T14" fmla="*/ 1 w 4"/>
                    <a:gd name="T15" fmla="*/ 0 h 4"/>
                    <a:gd name="T16" fmla="*/ 1 w 4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4">
                      <a:moveTo>
                        <a:pt x="1" y="0"/>
                      </a:move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2" y="3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AFACA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7"/>
                <p:cNvSpPr>
                  <a:spLocks/>
                </p:cNvSpPr>
                <p:nvPr/>
              </p:nvSpPr>
              <p:spPr bwMode="auto">
                <a:xfrm>
                  <a:off x="2312988" y="2516188"/>
                  <a:ext cx="58738" cy="311150"/>
                </a:xfrm>
                <a:custGeom>
                  <a:avLst/>
                  <a:gdLst>
                    <a:gd name="T0" fmla="*/ 9 w 12"/>
                    <a:gd name="T1" fmla="*/ 0 h 64"/>
                    <a:gd name="T2" fmla="*/ 1 w 12"/>
                    <a:gd name="T3" fmla="*/ 64 h 64"/>
                    <a:gd name="T4" fmla="*/ 0 w 12"/>
                    <a:gd name="T5" fmla="*/ 64 h 64"/>
                    <a:gd name="T6" fmla="*/ 0 w 12"/>
                    <a:gd name="T7" fmla="*/ 64 h 64"/>
                    <a:gd name="T8" fmla="*/ 0 w 12"/>
                    <a:gd name="T9" fmla="*/ 64 h 64"/>
                    <a:gd name="T10" fmla="*/ 0 w 12"/>
                    <a:gd name="T11" fmla="*/ 64 h 64"/>
                    <a:gd name="T12" fmla="*/ 3 w 12"/>
                    <a:gd name="T13" fmla="*/ 64 h 64"/>
                    <a:gd name="T14" fmla="*/ 4 w 12"/>
                    <a:gd name="T15" fmla="*/ 64 h 64"/>
                    <a:gd name="T16" fmla="*/ 12 w 12"/>
                    <a:gd name="T17" fmla="*/ 1 h 64"/>
                    <a:gd name="T18" fmla="*/ 10 w 12"/>
                    <a:gd name="T19" fmla="*/ 0 h 64"/>
                    <a:gd name="T20" fmla="*/ 9 w 12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" h="64">
                      <a:moveTo>
                        <a:pt x="9" y="0"/>
                      </a:moveTo>
                      <a:cubicBezTo>
                        <a:pt x="1" y="64"/>
                        <a:pt x="1" y="64"/>
                        <a:pt x="1" y="64"/>
                      </a:cubicBezTo>
                      <a:cubicBezTo>
                        <a:pt x="1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" y="64"/>
                        <a:pt x="2" y="64"/>
                        <a:pt x="3" y="64"/>
                      </a:cubicBezTo>
                      <a:cubicBezTo>
                        <a:pt x="4" y="64"/>
                        <a:pt x="4" y="64"/>
                        <a:pt x="4" y="64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1" y="0"/>
                        <a:pt x="10" y="0"/>
                      </a:cubicBezTo>
                      <a:cubicBezTo>
                        <a:pt x="10" y="0"/>
                        <a:pt x="10" y="0"/>
                        <a:pt x="9" y="0"/>
                      </a:cubicBezTo>
                    </a:path>
                  </a:pathLst>
                </a:custGeom>
                <a:solidFill>
                  <a:srgbClr val="F1E3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8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4B1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3" name="Freeform 119"/>
                <p:cNvSpPr>
                  <a:spLocks noEditPoints="1"/>
                </p:cNvSpPr>
                <p:nvPr/>
              </p:nvSpPr>
              <p:spPr bwMode="auto">
                <a:xfrm>
                  <a:off x="2312988" y="28273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9BD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4" name="Freeform 120"/>
                <p:cNvSpPr>
                  <a:spLocks/>
                </p:cNvSpPr>
                <p:nvPr/>
              </p:nvSpPr>
              <p:spPr bwMode="auto">
                <a:xfrm>
                  <a:off x="2343151" y="2501901"/>
                  <a:ext cx="19050" cy="0"/>
                </a:xfrm>
                <a:custGeom>
                  <a:avLst/>
                  <a:gdLst>
                    <a:gd name="T0" fmla="*/ 0 w 4"/>
                    <a:gd name="T1" fmla="*/ 4 w 4"/>
                    <a:gd name="T2" fmla="*/ 4 w 4"/>
                    <a:gd name="T3" fmla="*/ 4 w 4"/>
                    <a:gd name="T4" fmla="*/ 1 w 4"/>
                    <a:gd name="T5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cubicBezTo>
                        <a:pt x="1" y="0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0"/>
                        <a:pt x="2" y="0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6939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121"/>
                <p:cNvSpPr>
                  <a:spLocks/>
                </p:cNvSpPr>
                <p:nvPr/>
              </p:nvSpPr>
              <p:spPr bwMode="auto">
                <a:xfrm>
                  <a:off x="2333626" y="2497138"/>
                  <a:ext cx="28575" cy="19050"/>
                </a:xfrm>
                <a:custGeom>
                  <a:avLst/>
                  <a:gdLst>
                    <a:gd name="T0" fmla="*/ 0 w 6"/>
                    <a:gd name="T1" fmla="*/ 0 h 4"/>
                    <a:gd name="T2" fmla="*/ 0 w 6"/>
                    <a:gd name="T3" fmla="*/ 4 h 4"/>
                    <a:gd name="T4" fmla="*/ 5 w 6"/>
                    <a:gd name="T5" fmla="*/ 4 h 4"/>
                    <a:gd name="T6" fmla="*/ 6 w 6"/>
                    <a:gd name="T7" fmla="*/ 1 h 4"/>
                    <a:gd name="T8" fmla="*/ 2 w 6"/>
                    <a:gd name="T9" fmla="*/ 1 h 4"/>
                    <a:gd name="T10" fmla="*/ 1 w 6"/>
                    <a:gd name="T11" fmla="*/ 0 h 4"/>
                    <a:gd name="T12" fmla="*/ 0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4"/>
                        <a:pt x="4" y="4"/>
                        <a:pt x="5" y="4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4" y="1"/>
                        <a:pt x="3" y="1"/>
                        <a:pt x="2" y="1"/>
                      </a:cubicBezTo>
                      <a:cubicBezTo>
                        <a:pt x="1" y="1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C2C0C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122"/>
                <p:cNvSpPr>
                  <a:spLocks/>
                </p:cNvSpPr>
                <p:nvPr/>
              </p:nvSpPr>
              <p:spPr bwMode="auto">
                <a:xfrm>
                  <a:off x="2293938" y="2516188"/>
                  <a:ext cx="63500" cy="311150"/>
                </a:xfrm>
                <a:custGeom>
                  <a:avLst/>
                  <a:gdLst>
                    <a:gd name="T0" fmla="*/ 8 w 13"/>
                    <a:gd name="T1" fmla="*/ 0 h 64"/>
                    <a:gd name="T2" fmla="*/ 0 w 13"/>
                    <a:gd name="T3" fmla="*/ 63 h 64"/>
                    <a:gd name="T4" fmla="*/ 0 w 13"/>
                    <a:gd name="T5" fmla="*/ 63 h 64"/>
                    <a:gd name="T6" fmla="*/ 1 w 13"/>
                    <a:gd name="T7" fmla="*/ 63 h 64"/>
                    <a:gd name="T8" fmla="*/ 2 w 13"/>
                    <a:gd name="T9" fmla="*/ 63 h 64"/>
                    <a:gd name="T10" fmla="*/ 2 w 13"/>
                    <a:gd name="T11" fmla="*/ 63 h 64"/>
                    <a:gd name="T12" fmla="*/ 2 w 13"/>
                    <a:gd name="T13" fmla="*/ 63 h 64"/>
                    <a:gd name="T14" fmla="*/ 4 w 13"/>
                    <a:gd name="T15" fmla="*/ 64 h 64"/>
                    <a:gd name="T16" fmla="*/ 5 w 13"/>
                    <a:gd name="T17" fmla="*/ 64 h 64"/>
                    <a:gd name="T18" fmla="*/ 13 w 13"/>
                    <a:gd name="T19" fmla="*/ 0 h 64"/>
                    <a:gd name="T20" fmla="*/ 8 w 13"/>
                    <a:gd name="T21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64">
                      <a:moveTo>
                        <a:pt x="8" y="0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0" y="63"/>
                        <a:pt x="0" y="63"/>
                        <a:pt x="1" y="63"/>
                      </a:cubicBezTo>
                      <a:cubicBezTo>
                        <a:pt x="1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3" y="63"/>
                        <a:pt x="3" y="64"/>
                        <a:pt x="4" y="64"/>
                      </a:cubicBezTo>
                      <a:cubicBezTo>
                        <a:pt x="4" y="64"/>
                        <a:pt x="5" y="64"/>
                        <a:pt x="5" y="64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0" y="0"/>
                        <a:pt x="8" y="0"/>
                      </a:cubicBezTo>
                    </a:path>
                  </a:pathLst>
                </a:custGeom>
                <a:solidFill>
                  <a:srgbClr val="F5EA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123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2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2 w 3"/>
                    <a:gd name="T7" fmla="*/ 0 h 1"/>
                    <a:gd name="T8" fmla="*/ 0 w 3"/>
                    <a:gd name="T9" fmla="*/ 0 h 1"/>
                    <a:gd name="T10" fmla="*/ 0 w 3"/>
                    <a:gd name="T11" fmla="*/ 0 h 1"/>
                    <a:gd name="T12" fmla="*/ 1 w 3"/>
                    <a:gd name="T13" fmla="*/ 0 h 1"/>
                    <a:gd name="T14" fmla="*/ 1 w 3"/>
                    <a:gd name="T15" fmla="*/ 0 h 1"/>
                    <a:gd name="T16" fmla="*/ 0 w 3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DEC5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124"/>
                <p:cNvSpPr>
                  <a:spLocks noEditPoints="1"/>
                </p:cNvSpPr>
                <p:nvPr/>
              </p:nvSpPr>
              <p:spPr bwMode="auto">
                <a:xfrm>
                  <a:off x="2298701" y="2822576"/>
                  <a:ext cx="14288" cy="4763"/>
                </a:xfrm>
                <a:custGeom>
                  <a:avLst/>
                  <a:gdLst>
                    <a:gd name="T0" fmla="*/ 1 w 3"/>
                    <a:gd name="T1" fmla="*/ 0 h 1"/>
                    <a:gd name="T2" fmla="*/ 2 w 3"/>
                    <a:gd name="T3" fmla="*/ 0 h 1"/>
                    <a:gd name="T4" fmla="*/ 3 w 3"/>
                    <a:gd name="T5" fmla="*/ 1 h 1"/>
                    <a:gd name="T6" fmla="*/ 3 w 3"/>
                    <a:gd name="T7" fmla="*/ 1 h 1"/>
                    <a:gd name="T8" fmla="*/ 1 w 3"/>
                    <a:gd name="T9" fmla="*/ 0 h 1"/>
                    <a:gd name="T10" fmla="*/ 0 w 3"/>
                    <a:gd name="T11" fmla="*/ 0 h 1"/>
                    <a:gd name="T12" fmla="*/ 0 w 3"/>
                    <a:gd name="T13" fmla="*/ 0 h 1"/>
                    <a:gd name="T14" fmla="*/ 1 w 3"/>
                    <a:gd name="T15" fmla="*/ 0 h 1"/>
                    <a:gd name="T16" fmla="*/ 1 w 3"/>
                    <a:gd name="T17" fmla="*/ 0 h 1"/>
                    <a:gd name="T18" fmla="*/ 0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2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1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E2CDC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 bwMode="auto">
            <a:xfrm>
              <a:off x="3542839" y="1754690"/>
              <a:ext cx="5507908" cy="300803"/>
            </a:xfrm>
            <a:prstGeom prst="rect">
              <a:avLst/>
            </a:prstGeom>
            <a:solidFill>
              <a:srgbClr val="0070C0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30000"/>
                </a:spcAft>
                <a:buClr>
                  <a:schemeClr val="accent1"/>
                </a:buClr>
              </a:pPr>
              <a:endParaRPr lang="en-GB" sz="2100">
                <a:latin typeface="Arial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599254" y="1773744"/>
            <a:ext cx="523225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Service Level Management |Portfolio Overview | DE </a:t>
            </a: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5" t="1552" r="6251" b="20833"/>
          <a:stretch/>
        </p:blipFill>
        <p:spPr bwMode="auto">
          <a:xfrm>
            <a:off x="3549525" y="2061642"/>
            <a:ext cx="5492875" cy="3234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9" name="Group 128"/>
          <p:cNvGrpSpPr/>
          <p:nvPr/>
        </p:nvGrpSpPr>
        <p:grpSpPr>
          <a:xfrm flipH="1">
            <a:off x="9479582" y="3684578"/>
            <a:ext cx="1915335" cy="4693737"/>
            <a:chOff x="1120776" y="2492376"/>
            <a:chExt cx="1436688" cy="3519488"/>
          </a:xfrm>
        </p:grpSpPr>
        <p:sp>
          <p:nvSpPr>
            <p:cNvPr id="130" name="Freeform 64"/>
            <p:cNvSpPr>
              <a:spLocks/>
            </p:cNvSpPr>
            <p:nvPr/>
          </p:nvSpPr>
          <p:spPr bwMode="auto">
            <a:xfrm>
              <a:off x="2411413" y="2598738"/>
              <a:ext cx="131763" cy="1655763"/>
            </a:xfrm>
            <a:custGeom>
              <a:avLst/>
              <a:gdLst>
                <a:gd name="T0" fmla="*/ 14 w 27"/>
                <a:gd name="T1" fmla="*/ 0 h 340"/>
                <a:gd name="T2" fmla="*/ 15 w 27"/>
                <a:gd name="T3" fmla="*/ 5 h 340"/>
                <a:gd name="T4" fmla="*/ 22 w 27"/>
                <a:gd name="T5" fmla="*/ 59 h 340"/>
                <a:gd name="T6" fmla="*/ 3 w 27"/>
                <a:gd name="T7" fmla="*/ 161 h 340"/>
                <a:gd name="T8" fmla="*/ 6 w 27"/>
                <a:gd name="T9" fmla="*/ 235 h 340"/>
                <a:gd name="T10" fmla="*/ 23 w 27"/>
                <a:gd name="T11" fmla="*/ 340 h 340"/>
                <a:gd name="T12" fmla="*/ 27 w 27"/>
                <a:gd name="T13" fmla="*/ 340 h 340"/>
                <a:gd name="T14" fmla="*/ 10 w 27"/>
                <a:gd name="T15" fmla="*/ 239 h 340"/>
                <a:gd name="T16" fmla="*/ 7 w 27"/>
                <a:gd name="T17" fmla="*/ 165 h 340"/>
                <a:gd name="T18" fmla="*/ 26 w 27"/>
                <a:gd name="T19" fmla="*/ 64 h 340"/>
                <a:gd name="T20" fmla="*/ 14 w 27"/>
                <a:gd name="T21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40">
                  <a:moveTo>
                    <a:pt x="14" y="0"/>
                  </a:moveTo>
                  <a:cubicBezTo>
                    <a:pt x="14" y="2"/>
                    <a:pt x="14" y="4"/>
                    <a:pt x="15" y="5"/>
                  </a:cubicBezTo>
                  <a:cubicBezTo>
                    <a:pt x="22" y="22"/>
                    <a:pt x="23" y="45"/>
                    <a:pt x="22" y="59"/>
                  </a:cubicBezTo>
                  <a:cubicBezTo>
                    <a:pt x="21" y="83"/>
                    <a:pt x="5" y="134"/>
                    <a:pt x="3" y="161"/>
                  </a:cubicBezTo>
                  <a:cubicBezTo>
                    <a:pt x="0" y="188"/>
                    <a:pt x="8" y="211"/>
                    <a:pt x="6" y="235"/>
                  </a:cubicBezTo>
                  <a:cubicBezTo>
                    <a:pt x="4" y="254"/>
                    <a:pt x="21" y="296"/>
                    <a:pt x="23" y="340"/>
                  </a:cubicBezTo>
                  <a:cubicBezTo>
                    <a:pt x="27" y="340"/>
                    <a:pt x="27" y="340"/>
                    <a:pt x="27" y="340"/>
                  </a:cubicBezTo>
                  <a:cubicBezTo>
                    <a:pt x="24" y="297"/>
                    <a:pt x="8" y="258"/>
                    <a:pt x="10" y="239"/>
                  </a:cubicBezTo>
                  <a:cubicBezTo>
                    <a:pt x="12" y="216"/>
                    <a:pt x="5" y="192"/>
                    <a:pt x="7" y="165"/>
                  </a:cubicBezTo>
                  <a:cubicBezTo>
                    <a:pt x="9" y="138"/>
                    <a:pt x="25" y="87"/>
                    <a:pt x="26" y="64"/>
                  </a:cubicBezTo>
                  <a:cubicBezTo>
                    <a:pt x="27" y="47"/>
                    <a:pt x="26" y="17"/>
                    <a:pt x="14" y="0"/>
                  </a:cubicBezTo>
                </a:path>
              </a:pathLst>
            </a:custGeom>
            <a:solidFill>
              <a:srgbClr val="1E21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65"/>
            <p:cNvSpPr>
              <a:spLocks/>
            </p:cNvSpPr>
            <p:nvPr/>
          </p:nvSpPr>
          <p:spPr bwMode="auto">
            <a:xfrm>
              <a:off x="2459038" y="2565401"/>
              <a:ext cx="20638" cy="33338"/>
            </a:xfrm>
            <a:custGeom>
              <a:avLst/>
              <a:gdLst>
                <a:gd name="T0" fmla="*/ 0 w 4"/>
                <a:gd name="T1" fmla="*/ 0 h 7"/>
                <a:gd name="T2" fmla="*/ 2 w 4"/>
                <a:gd name="T3" fmla="*/ 5 h 7"/>
                <a:gd name="T4" fmla="*/ 4 w 4"/>
                <a:gd name="T5" fmla="*/ 7 h 7"/>
                <a:gd name="T6" fmla="*/ 0 w 4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cubicBezTo>
                    <a:pt x="1" y="2"/>
                    <a:pt x="1" y="3"/>
                    <a:pt x="2" y="5"/>
                  </a:cubicBezTo>
                  <a:cubicBezTo>
                    <a:pt x="2" y="6"/>
                    <a:pt x="3" y="6"/>
                    <a:pt x="4" y="7"/>
                  </a:cubicBezTo>
                  <a:cubicBezTo>
                    <a:pt x="3" y="4"/>
                    <a:pt x="2" y="2"/>
                    <a:pt x="0" y="0"/>
                  </a:cubicBezTo>
                </a:path>
              </a:pathLst>
            </a:custGeom>
            <a:solidFill>
              <a:srgbClr val="1E21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66"/>
            <p:cNvSpPr>
              <a:spLocks/>
            </p:cNvSpPr>
            <p:nvPr/>
          </p:nvSpPr>
          <p:spPr bwMode="auto">
            <a:xfrm>
              <a:off x="2470151" y="2589213"/>
              <a:ext cx="14288" cy="33338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2 h 7"/>
                <a:gd name="T4" fmla="*/ 3 w 3"/>
                <a:gd name="T5" fmla="*/ 7 h 7"/>
                <a:gd name="T6" fmla="*/ 2 w 3"/>
                <a:gd name="T7" fmla="*/ 2 h 7"/>
                <a:gd name="T8" fmla="*/ 0 w 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4"/>
                    <a:pt x="2" y="6"/>
                    <a:pt x="3" y="7"/>
                  </a:cubicBezTo>
                  <a:cubicBezTo>
                    <a:pt x="2" y="6"/>
                    <a:pt x="2" y="4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solidFill>
              <a:srgbClr val="1B1D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68"/>
            <p:cNvSpPr>
              <a:spLocks/>
            </p:cNvSpPr>
            <p:nvPr/>
          </p:nvSpPr>
          <p:spPr bwMode="auto">
            <a:xfrm>
              <a:off x="1120776" y="3286126"/>
              <a:ext cx="311150" cy="2725738"/>
            </a:xfrm>
            <a:custGeom>
              <a:avLst/>
              <a:gdLst>
                <a:gd name="T0" fmla="*/ 0 w 64"/>
                <a:gd name="T1" fmla="*/ 560 h 560"/>
                <a:gd name="T2" fmla="*/ 62 w 64"/>
                <a:gd name="T3" fmla="*/ 313 h 560"/>
                <a:gd name="T4" fmla="*/ 57 w 64"/>
                <a:gd name="T5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560">
                  <a:moveTo>
                    <a:pt x="0" y="560"/>
                  </a:moveTo>
                  <a:cubicBezTo>
                    <a:pt x="19" y="510"/>
                    <a:pt x="64" y="401"/>
                    <a:pt x="62" y="313"/>
                  </a:cubicBezTo>
                  <a:cubicBezTo>
                    <a:pt x="59" y="218"/>
                    <a:pt x="19" y="10"/>
                    <a:pt x="57" y="0"/>
                  </a:cubicBezTo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69"/>
            <p:cNvSpPr>
              <a:spLocks/>
            </p:cNvSpPr>
            <p:nvPr/>
          </p:nvSpPr>
          <p:spPr bwMode="auto">
            <a:xfrm>
              <a:off x="1120776" y="2492376"/>
              <a:ext cx="1436688" cy="3519488"/>
            </a:xfrm>
            <a:custGeom>
              <a:avLst/>
              <a:gdLst>
                <a:gd name="T0" fmla="*/ 57 w 295"/>
                <a:gd name="T1" fmla="*/ 163 h 723"/>
                <a:gd name="T2" fmla="*/ 129 w 295"/>
                <a:gd name="T3" fmla="*/ 133 h 723"/>
                <a:gd name="T4" fmla="*/ 191 w 295"/>
                <a:gd name="T5" fmla="*/ 104 h 723"/>
                <a:gd name="T6" fmla="*/ 202 w 295"/>
                <a:gd name="T7" fmla="*/ 50 h 723"/>
                <a:gd name="T8" fmla="*/ 255 w 295"/>
                <a:gd name="T9" fmla="*/ 5 h 723"/>
                <a:gd name="T10" fmla="*/ 287 w 295"/>
                <a:gd name="T11" fmla="*/ 81 h 723"/>
                <a:gd name="T12" fmla="*/ 268 w 295"/>
                <a:gd name="T13" fmla="*/ 183 h 723"/>
                <a:gd name="T14" fmla="*/ 271 w 295"/>
                <a:gd name="T15" fmla="*/ 257 h 723"/>
                <a:gd name="T16" fmla="*/ 287 w 295"/>
                <a:gd name="T17" fmla="*/ 394 h 723"/>
                <a:gd name="T18" fmla="*/ 231 w 295"/>
                <a:gd name="T19" fmla="*/ 549 h 723"/>
                <a:gd name="T20" fmla="*/ 188 w 295"/>
                <a:gd name="T21" fmla="*/ 723 h 723"/>
                <a:gd name="T22" fmla="*/ 0 w 295"/>
                <a:gd name="T23" fmla="*/ 723 h 723"/>
                <a:gd name="T24" fmla="*/ 57 w 295"/>
                <a:gd name="T25" fmla="*/ 163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5" h="723">
                  <a:moveTo>
                    <a:pt x="57" y="163"/>
                  </a:moveTo>
                  <a:cubicBezTo>
                    <a:pt x="72" y="151"/>
                    <a:pt x="106" y="143"/>
                    <a:pt x="129" y="133"/>
                  </a:cubicBezTo>
                  <a:cubicBezTo>
                    <a:pt x="153" y="122"/>
                    <a:pt x="185" y="107"/>
                    <a:pt x="191" y="104"/>
                  </a:cubicBezTo>
                  <a:cubicBezTo>
                    <a:pt x="196" y="101"/>
                    <a:pt x="195" y="74"/>
                    <a:pt x="202" y="50"/>
                  </a:cubicBezTo>
                  <a:cubicBezTo>
                    <a:pt x="210" y="27"/>
                    <a:pt x="224" y="0"/>
                    <a:pt x="255" y="5"/>
                  </a:cubicBezTo>
                  <a:cubicBezTo>
                    <a:pt x="286" y="11"/>
                    <a:pt x="288" y="58"/>
                    <a:pt x="287" y="81"/>
                  </a:cubicBezTo>
                  <a:cubicBezTo>
                    <a:pt x="286" y="105"/>
                    <a:pt x="270" y="156"/>
                    <a:pt x="268" y="183"/>
                  </a:cubicBezTo>
                  <a:cubicBezTo>
                    <a:pt x="265" y="210"/>
                    <a:pt x="273" y="233"/>
                    <a:pt x="271" y="257"/>
                  </a:cubicBezTo>
                  <a:cubicBezTo>
                    <a:pt x="269" y="281"/>
                    <a:pt x="295" y="339"/>
                    <a:pt x="287" y="394"/>
                  </a:cubicBezTo>
                  <a:cubicBezTo>
                    <a:pt x="279" y="449"/>
                    <a:pt x="249" y="502"/>
                    <a:pt x="231" y="549"/>
                  </a:cubicBezTo>
                  <a:cubicBezTo>
                    <a:pt x="215" y="594"/>
                    <a:pt x="192" y="670"/>
                    <a:pt x="188" y="723"/>
                  </a:cubicBezTo>
                  <a:cubicBezTo>
                    <a:pt x="0" y="723"/>
                    <a:pt x="0" y="723"/>
                    <a:pt x="0" y="723"/>
                  </a:cubicBezTo>
                  <a:cubicBezTo>
                    <a:pt x="57" y="163"/>
                    <a:pt x="57" y="163"/>
                    <a:pt x="57" y="163"/>
                  </a:cubicBezTo>
                </a:path>
              </a:pathLst>
            </a:custGeom>
            <a:solidFill>
              <a:srgbClr val="D6A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70"/>
            <p:cNvSpPr>
              <a:spLocks/>
            </p:cNvSpPr>
            <p:nvPr/>
          </p:nvSpPr>
          <p:spPr bwMode="auto">
            <a:xfrm>
              <a:off x="2060576" y="2968626"/>
              <a:ext cx="0" cy="4763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C1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71"/>
            <p:cNvSpPr>
              <a:spLocks noEditPoints="1"/>
            </p:cNvSpPr>
            <p:nvPr/>
          </p:nvSpPr>
          <p:spPr bwMode="auto">
            <a:xfrm>
              <a:off x="1700213" y="2968626"/>
              <a:ext cx="360363" cy="842963"/>
            </a:xfrm>
            <a:custGeom>
              <a:avLst/>
              <a:gdLst>
                <a:gd name="T0" fmla="*/ 74 w 74"/>
                <a:gd name="T1" fmla="*/ 3 h 173"/>
                <a:gd name="T2" fmla="*/ 56 w 74"/>
                <a:gd name="T3" fmla="*/ 50 h 173"/>
                <a:gd name="T4" fmla="*/ 52 w 74"/>
                <a:gd name="T5" fmla="*/ 49 h 173"/>
                <a:gd name="T6" fmla="*/ 39 w 74"/>
                <a:gd name="T7" fmla="*/ 44 h 173"/>
                <a:gd name="T8" fmla="*/ 51 w 74"/>
                <a:gd name="T9" fmla="*/ 57 h 173"/>
                <a:gd name="T10" fmla="*/ 57 w 74"/>
                <a:gd name="T11" fmla="*/ 66 h 173"/>
                <a:gd name="T12" fmla="*/ 9 w 74"/>
                <a:gd name="T13" fmla="*/ 53 h 173"/>
                <a:gd name="T14" fmla="*/ 4 w 74"/>
                <a:gd name="T15" fmla="*/ 53 h 173"/>
                <a:gd name="T16" fmla="*/ 58 w 74"/>
                <a:gd name="T17" fmla="*/ 83 h 173"/>
                <a:gd name="T18" fmla="*/ 53 w 74"/>
                <a:gd name="T19" fmla="*/ 92 h 173"/>
                <a:gd name="T20" fmla="*/ 16 w 74"/>
                <a:gd name="T21" fmla="*/ 77 h 173"/>
                <a:gd name="T22" fmla="*/ 12 w 74"/>
                <a:gd name="T23" fmla="*/ 76 h 173"/>
                <a:gd name="T24" fmla="*/ 49 w 74"/>
                <a:gd name="T25" fmla="*/ 108 h 173"/>
                <a:gd name="T26" fmla="*/ 21 w 74"/>
                <a:gd name="T27" fmla="*/ 139 h 173"/>
                <a:gd name="T28" fmla="*/ 14 w 74"/>
                <a:gd name="T29" fmla="*/ 144 h 173"/>
                <a:gd name="T30" fmla="*/ 32 w 74"/>
                <a:gd name="T31" fmla="*/ 142 h 173"/>
                <a:gd name="T32" fmla="*/ 32 w 74"/>
                <a:gd name="T33" fmla="*/ 142 h 173"/>
                <a:gd name="T34" fmla="*/ 30 w 74"/>
                <a:gd name="T35" fmla="*/ 158 h 173"/>
                <a:gd name="T36" fmla="*/ 20 w 74"/>
                <a:gd name="T37" fmla="*/ 173 h 173"/>
                <a:gd name="T38" fmla="*/ 20 w 74"/>
                <a:gd name="T39" fmla="*/ 173 h 173"/>
                <a:gd name="T40" fmla="*/ 33 w 74"/>
                <a:gd name="T41" fmla="*/ 158 h 173"/>
                <a:gd name="T42" fmla="*/ 74 w 74"/>
                <a:gd name="T43" fmla="*/ 3 h 173"/>
                <a:gd name="T44" fmla="*/ 74 w 74"/>
                <a:gd name="T45" fmla="*/ 0 h 173"/>
                <a:gd name="T46" fmla="*/ 74 w 74"/>
                <a:gd name="T47" fmla="*/ 1 h 173"/>
                <a:gd name="T48" fmla="*/ 74 w 74"/>
                <a:gd name="T49" fmla="*/ 3 h 173"/>
                <a:gd name="T50" fmla="*/ 74 w 74"/>
                <a:gd name="T51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173">
                  <a:moveTo>
                    <a:pt x="74" y="3"/>
                  </a:moveTo>
                  <a:cubicBezTo>
                    <a:pt x="69" y="39"/>
                    <a:pt x="63" y="50"/>
                    <a:pt x="56" y="50"/>
                  </a:cubicBezTo>
                  <a:cubicBezTo>
                    <a:pt x="55" y="50"/>
                    <a:pt x="54" y="49"/>
                    <a:pt x="52" y="49"/>
                  </a:cubicBezTo>
                  <a:cubicBezTo>
                    <a:pt x="48" y="47"/>
                    <a:pt x="41" y="44"/>
                    <a:pt x="39" y="44"/>
                  </a:cubicBezTo>
                  <a:cubicBezTo>
                    <a:pt x="36" y="44"/>
                    <a:pt x="38" y="47"/>
                    <a:pt x="51" y="57"/>
                  </a:cubicBezTo>
                  <a:cubicBezTo>
                    <a:pt x="59" y="64"/>
                    <a:pt x="60" y="66"/>
                    <a:pt x="57" y="66"/>
                  </a:cubicBezTo>
                  <a:cubicBezTo>
                    <a:pt x="50" y="66"/>
                    <a:pt x="24" y="56"/>
                    <a:pt x="9" y="53"/>
                  </a:cubicBezTo>
                  <a:cubicBezTo>
                    <a:pt x="6" y="53"/>
                    <a:pt x="5" y="53"/>
                    <a:pt x="4" y="53"/>
                  </a:cubicBezTo>
                  <a:cubicBezTo>
                    <a:pt x="0" y="53"/>
                    <a:pt x="56" y="64"/>
                    <a:pt x="58" y="83"/>
                  </a:cubicBezTo>
                  <a:cubicBezTo>
                    <a:pt x="59" y="89"/>
                    <a:pt x="57" y="92"/>
                    <a:pt x="53" y="92"/>
                  </a:cubicBezTo>
                  <a:cubicBezTo>
                    <a:pt x="44" y="92"/>
                    <a:pt x="27" y="81"/>
                    <a:pt x="16" y="77"/>
                  </a:cubicBezTo>
                  <a:cubicBezTo>
                    <a:pt x="14" y="77"/>
                    <a:pt x="13" y="76"/>
                    <a:pt x="12" y="76"/>
                  </a:cubicBezTo>
                  <a:cubicBezTo>
                    <a:pt x="7" y="76"/>
                    <a:pt x="42" y="98"/>
                    <a:pt x="49" y="108"/>
                  </a:cubicBezTo>
                  <a:cubicBezTo>
                    <a:pt x="58" y="119"/>
                    <a:pt x="41" y="133"/>
                    <a:pt x="21" y="139"/>
                  </a:cubicBezTo>
                  <a:cubicBezTo>
                    <a:pt x="10" y="143"/>
                    <a:pt x="9" y="144"/>
                    <a:pt x="14" y="144"/>
                  </a:cubicBezTo>
                  <a:cubicBezTo>
                    <a:pt x="17" y="144"/>
                    <a:pt x="24" y="143"/>
                    <a:pt x="32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8" y="142"/>
                    <a:pt x="35" y="150"/>
                    <a:pt x="30" y="158"/>
                  </a:cubicBezTo>
                  <a:cubicBezTo>
                    <a:pt x="26" y="165"/>
                    <a:pt x="20" y="173"/>
                    <a:pt x="20" y="173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21" y="173"/>
                    <a:pt x="24" y="169"/>
                    <a:pt x="33" y="158"/>
                  </a:cubicBezTo>
                  <a:cubicBezTo>
                    <a:pt x="67" y="116"/>
                    <a:pt x="71" y="25"/>
                    <a:pt x="74" y="3"/>
                  </a:cubicBezTo>
                  <a:moveTo>
                    <a:pt x="74" y="0"/>
                  </a:moveTo>
                  <a:cubicBezTo>
                    <a:pt x="74" y="1"/>
                    <a:pt x="74" y="1"/>
                    <a:pt x="74" y="1"/>
                  </a:cubicBezTo>
                  <a:cubicBezTo>
                    <a:pt x="74" y="1"/>
                    <a:pt x="74" y="2"/>
                    <a:pt x="74" y="3"/>
                  </a:cubicBezTo>
                  <a:cubicBezTo>
                    <a:pt x="74" y="2"/>
                    <a:pt x="74" y="1"/>
                    <a:pt x="74" y="0"/>
                  </a:cubicBezTo>
                </a:path>
              </a:pathLst>
            </a:custGeom>
            <a:solidFill>
              <a:srgbClr val="C087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72"/>
            <p:cNvSpPr>
              <a:spLocks noEditPoints="1"/>
            </p:cNvSpPr>
            <p:nvPr/>
          </p:nvSpPr>
          <p:spPr bwMode="auto">
            <a:xfrm>
              <a:off x="2114551" y="2998788"/>
              <a:ext cx="315913" cy="146050"/>
            </a:xfrm>
            <a:custGeom>
              <a:avLst/>
              <a:gdLst>
                <a:gd name="T0" fmla="*/ 9 w 65"/>
                <a:gd name="T1" fmla="*/ 18 h 30"/>
                <a:gd name="T2" fmla="*/ 58 w 65"/>
                <a:gd name="T3" fmla="*/ 30 h 30"/>
                <a:gd name="T4" fmla="*/ 59 w 65"/>
                <a:gd name="T5" fmla="*/ 30 h 30"/>
                <a:gd name="T6" fmla="*/ 65 w 65"/>
                <a:gd name="T7" fmla="*/ 30 h 30"/>
                <a:gd name="T8" fmla="*/ 65 w 65"/>
                <a:gd name="T9" fmla="*/ 30 h 30"/>
                <a:gd name="T10" fmla="*/ 9 w 65"/>
                <a:gd name="T11" fmla="*/ 18 h 30"/>
                <a:gd name="T12" fmla="*/ 14 w 65"/>
                <a:gd name="T13" fmla="*/ 0 h 30"/>
                <a:gd name="T14" fmla="*/ 12 w 65"/>
                <a:gd name="T15" fmla="*/ 0 h 30"/>
                <a:gd name="T16" fmla="*/ 0 w 65"/>
                <a:gd name="T17" fmla="*/ 1 h 30"/>
                <a:gd name="T18" fmla="*/ 29 w 65"/>
                <a:gd name="T19" fmla="*/ 4 h 30"/>
                <a:gd name="T20" fmla="*/ 43 w 65"/>
                <a:gd name="T21" fmla="*/ 2 h 30"/>
                <a:gd name="T22" fmla="*/ 14 w 65"/>
                <a:gd name="T2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30">
                  <a:moveTo>
                    <a:pt x="9" y="18"/>
                  </a:moveTo>
                  <a:cubicBezTo>
                    <a:pt x="22" y="24"/>
                    <a:pt x="44" y="30"/>
                    <a:pt x="58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2" y="30"/>
                    <a:pt x="64" y="30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55" y="29"/>
                    <a:pt x="26" y="21"/>
                    <a:pt x="9" y="18"/>
                  </a:cubicBezTo>
                  <a:moveTo>
                    <a:pt x="14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3" y="0"/>
                    <a:pt x="0" y="1"/>
                  </a:cubicBezTo>
                  <a:cubicBezTo>
                    <a:pt x="5" y="2"/>
                    <a:pt x="17" y="4"/>
                    <a:pt x="29" y="4"/>
                  </a:cubicBezTo>
                  <a:cubicBezTo>
                    <a:pt x="34" y="4"/>
                    <a:pt x="39" y="4"/>
                    <a:pt x="43" y="2"/>
                  </a:cubicBezTo>
                  <a:cubicBezTo>
                    <a:pt x="36" y="2"/>
                    <a:pt x="24" y="0"/>
                    <a:pt x="14" y="0"/>
                  </a:cubicBezTo>
                </a:path>
              </a:pathLst>
            </a:custGeom>
            <a:solidFill>
              <a:srgbClr val="C087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73"/>
            <p:cNvSpPr>
              <a:spLocks noEditPoints="1"/>
            </p:cNvSpPr>
            <p:nvPr/>
          </p:nvSpPr>
          <p:spPr bwMode="auto">
            <a:xfrm>
              <a:off x="2211388" y="2497138"/>
              <a:ext cx="247650" cy="68263"/>
            </a:xfrm>
            <a:custGeom>
              <a:avLst/>
              <a:gdLst>
                <a:gd name="T0" fmla="*/ 34 w 51"/>
                <a:gd name="T1" fmla="*/ 2 h 14"/>
                <a:gd name="T2" fmla="*/ 34 w 51"/>
                <a:gd name="T3" fmla="*/ 2 h 14"/>
                <a:gd name="T4" fmla="*/ 37 w 51"/>
                <a:gd name="T5" fmla="*/ 3 h 14"/>
                <a:gd name="T6" fmla="*/ 37 w 51"/>
                <a:gd name="T7" fmla="*/ 3 h 14"/>
                <a:gd name="T8" fmla="*/ 36 w 51"/>
                <a:gd name="T9" fmla="*/ 6 h 14"/>
                <a:gd name="T10" fmla="*/ 51 w 51"/>
                <a:gd name="T11" fmla="*/ 14 h 14"/>
                <a:gd name="T12" fmla="*/ 34 w 51"/>
                <a:gd name="T13" fmla="*/ 2 h 14"/>
                <a:gd name="T14" fmla="*/ 26 w 51"/>
                <a:gd name="T15" fmla="*/ 0 h 14"/>
                <a:gd name="T16" fmla="*/ 26 w 51"/>
                <a:gd name="T17" fmla="*/ 0 h 14"/>
                <a:gd name="T18" fmla="*/ 26 w 51"/>
                <a:gd name="T19" fmla="*/ 0 h 14"/>
                <a:gd name="T20" fmla="*/ 20 w 51"/>
                <a:gd name="T21" fmla="*/ 0 h 14"/>
                <a:gd name="T22" fmla="*/ 0 w 51"/>
                <a:gd name="T23" fmla="*/ 12 h 14"/>
                <a:gd name="T24" fmla="*/ 19 w 51"/>
                <a:gd name="T25" fmla="*/ 4 h 14"/>
                <a:gd name="T26" fmla="*/ 19 w 51"/>
                <a:gd name="T27" fmla="*/ 0 h 14"/>
                <a:gd name="T28" fmla="*/ 20 w 51"/>
                <a:gd name="T29" fmla="*/ 0 h 14"/>
                <a:gd name="T30" fmla="*/ 26 w 51"/>
                <a:gd name="T31" fmla="*/ 0 h 14"/>
                <a:gd name="T32" fmla="*/ 20 w 51"/>
                <a:gd name="T3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14">
                  <a:moveTo>
                    <a:pt x="34" y="2"/>
                  </a:moveTo>
                  <a:cubicBezTo>
                    <a:pt x="34" y="2"/>
                    <a:pt x="34" y="2"/>
                    <a:pt x="34" y="2"/>
                  </a:cubicBezTo>
                  <a:cubicBezTo>
                    <a:pt x="35" y="2"/>
                    <a:pt x="36" y="2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43" y="7"/>
                    <a:pt x="48" y="10"/>
                    <a:pt x="51" y="14"/>
                  </a:cubicBezTo>
                  <a:cubicBezTo>
                    <a:pt x="48" y="7"/>
                    <a:pt x="42" y="4"/>
                    <a:pt x="34" y="2"/>
                  </a:cubicBezTo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moveTo>
                    <a:pt x="20" y="0"/>
                  </a:moveTo>
                  <a:cubicBezTo>
                    <a:pt x="9" y="0"/>
                    <a:pt x="3" y="4"/>
                    <a:pt x="0" y="12"/>
                  </a:cubicBezTo>
                  <a:cubicBezTo>
                    <a:pt x="5" y="8"/>
                    <a:pt x="11" y="5"/>
                    <a:pt x="19" y="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0"/>
                    <a:pt x="26" y="0"/>
                  </a:cubicBezTo>
                  <a:cubicBezTo>
                    <a:pt x="24" y="0"/>
                    <a:pt x="22" y="0"/>
                    <a:pt x="20" y="0"/>
                  </a:cubicBezTo>
                </a:path>
              </a:pathLst>
            </a:custGeom>
            <a:solidFill>
              <a:srgbClr val="7674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74"/>
            <p:cNvSpPr>
              <a:spLocks/>
            </p:cNvSpPr>
            <p:nvPr/>
          </p:nvSpPr>
          <p:spPr bwMode="auto">
            <a:xfrm>
              <a:off x="2386013" y="2525713"/>
              <a:ext cx="84138" cy="63500"/>
            </a:xfrm>
            <a:custGeom>
              <a:avLst/>
              <a:gdLst>
                <a:gd name="T0" fmla="*/ 0 w 17"/>
                <a:gd name="T1" fmla="*/ 0 h 13"/>
                <a:gd name="T2" fmla="*/ 0 w 17"/>
                <a:gd name="T3" fmla="*/ 0 h 13"/>
                <a:gd name="T4" fmla="*/ 13 w 17"/>
                <a:gd name="T5" fmla="*/ 9 h 13"/>
                <a:gd name="T6" fmla="*/ 17 w 17"/>
                <a:gd name="T7" fmla="*/ 13 h 13"/>
                <a:gd name="T8" fmla="*/ 15 w 17"/>
                <a:gd name="T9" fmla="*/ 8 h 13"/>
                <a:gd name="T10" fmla="*/ 0 w 17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2"/>
                    <a:pt x="9" y="5"/>
                    <a:pt x="13" y="9"/>
                  </a:cubicBezTo>
                  <a:cubicBezTo>
                    <a:pt x="14" y="10"/>
                    <a:pt x="16" y="11"/>
                    <a:pt x="17" y="13"/>
                  </a:cubicBezTo>
                  <a:cubicBezTo>
                    <a:pt x="16" y="11"/>
                    <a:pt x="16" y="10"/>
                    <a:pt x="15" y="8"/>
                  </a:cubicBezTo>
                  <a:cubicBezTo>
                    <a:pt x="12" y="4"/>
                    <a:pt x="7" y="1"/>
                    <a:pt x="0" y="0"/>
                  </a:cubicBezTo>
                </a:path>
              </a:pathLst>
            </a:custGeom>
            <a:solidFill>
              <a:srgbClr val="7471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75"/>
            <p:cNvSpPr>
              <a:spLocks/>
            </p:cNvSpPr>
            <p:nvPr/>
          </p:nvSpPr>
          <p:spPr bwMode="auto">
            <a:xfrm>
              <a:off x="2449513" y="2570163"/>
              <a:ext cx="20638" cy="28575"/>
            </a:xfrm>
            <a:custGeom>
              <a:avLst/>
              <a:gdLst>
                <a:gd name="T0" fmla="*/ 0 w 4"/>
                <a:gd name="T1" fmla="*/ 0 h 6"/>
                <a:gd name="T2" fmla="*/ 4 w 4"/>
                <a:gd name="T3" fmla="*/ 6 h 6"/>
                <a:gd name="T4" fmla="*/ 4 w 4"/>
                <a:gd name="T5" fmla="*/ 4 h 6"/>
                <a:gd name="T6" fmla="*/ 0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1" y="2"/>
                    <a:pt x="3" y="4"/>
                    <a:pt x="4" y="6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3" y="2"/>
                    <a:pt x="1" y="1"/>
                    <a:pt x="0" y="0"/>
                  </a:cubicBezTo>
                </a:path>
              </a:pathLst>
            </a:custGeom>
            <a:solidFill>
              <a:srgbClr val="72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76"/>
            <p:cNvSpPr>
              <a:spLocks noEditPoints="1"/>
            </p:cNvSpPr>
            <p:nvPr/>
          </p:nvSpPr>
          <p:spPr bwMode="auto">
            <a:xfrm>
              <a:off x="2182813" y="2516188"/>
              <a:ext cx="292100" cy="315913"/>
            </a:xfrm>
            <a:custGeom>
              <a:avLst/>
              <a:gdLst>
                <a:gd name="T0" fmla="*/ 27 w 60"/>
                <a:gd name="T1" fmla="*/ 64 h 65"/>
                <a:gd name="T2" fmla="*/ 34 w 60"/>
                <a:gd name="T3" fmla="*/ 65 h 65"/>
                <a:gd name="T4" fmla="*/ 31 w 60"/>
                <a:gd name="T5" fmla="*/ 64 h 65"/>
                <a:gd name="T6" fmla="*/ 31 w 60"/>
                <a:gd name="T7" fmla="*/ 64 h 65"/>
                <a:gd name="T8" fmla="*/ 30 w 60"/>
                <a:gd name="T9" fmla="*/ 64 h 65"/>
                <a:gd name="T10" fmla="*/ 27 w 60"/>
                <a:gd name="T11" fmla="*/ 64 h 65"/>
                <a:gd name="T12" fmla="*/ 27 w 60"/>
                <a:gd name="T13" fmla="*/ 64 h 65"/>
                <a:gd name="T14" fmla="*/ 27 w 60"/>
                <a:gd name="T15" fmla="*/ 64 h 65"/>
                <a:gd name="T16" fmla="*/ 27 w 60"/>
                <a:gd name="T17" fmla="*/ 64 h 65"/>
                <a:gd name="T18" fmla="*/ 42 w 60"/>
                <a:gd name="T19" fmla="*/ 2 h 65"/>
                <a:gd name="T20" fmla="*/ 34 w 60"/>
                <a:gd name="T21" fmla="*/ 65 h 65"/>
                <a:gd name="T22" fmla="*/ 37 w 60"/>
                <a:gd name="T23" fmla="*/ 65 h 65"/>
                <a:gd name="T24" fmla="*/ 58 w 60"/>
                <a:gd name="T25" fmla="*/ 35 h 65"/>
                <a:gd name="T26" fmla="*/ 58 w 60"/>
                <a:gd name="T27" fmla="*/ 35 h 65"/>
                <a:gd name="T28" fmla="*/ 59 w 60"/>
                <a:gd name="T29" fmla="*/ 17 h 65"/>
                <a:gd name="T30" fmla="*/ 59 w 60"/>
                <a:gd name="T31" fmla="*/ 17 h 65"/>
                <a:gd name="T32" fmla="*/ 59 w 60"/>
                <a:gd name="T33" fmla="*/ 17 h 65"/>
                <a:gd name="T34" fmla="*/ 55 w 60"/>
                <a:gd name="T35" fmla="*/ 11 h 65"/>
                <a:gd name="T36" fmla="*/ 42 w 60"/>
                <a:gd name="T37" fmla="*/ 2 h 65"/>
                <a:gd name="T38" fmla="*/ 25 w 60"/>
                <a:gd name="T39" fmla="*/ 0 h 65"/>
                <a:gd name="T40" fmla="*/ 6 w 60"/>
                <a:gd name="T41" fmla="*/ 8 h 65"/>
                <a:gd name="T42" fmla="*/ 6 w 60"/>
                <a:gd name="T43" fmla="*/ 8 h 65"/>
                <a:gd name="T44" fmla="*/ 6 w 60"/>
                <a:gd name="T45" fmla="*/ 8 h 65"/>
                <a:gd name="T46" fmla="*/ 6 w 60"/>
                <a:gd name="T47" fmla="*/ 8 h 65"/>
                <a:gd name="T48" fmla="*/ 3 w 60"/>
                <a:gd name="T49" fmla="*/ 19 h 65"/>
                <a:gd name="T50" fmla="*/ 1 w 60"/>
                <a:gd name="T51" fmla="*/ 28 h 65"/>
                <a:gd name="T52" fmla="*/ 0 w 60"/>
                <a:gd name="T53" fmla="*/ 40 h 65"/>
                <a:gd name="T54" fmla="*/ 0 w 60"/>
                <a:gd name="T55" fmla="*/ 40 h 65"/>
                <a:gd name="T56" fmla="*/ 2 w 60"/>
                <a:gd name="T57" fmla="*/ 50 h 65"/>
                <a:gd name="T58" fmla="*/ 20 w 60"/>
                <a:gd name="T59" fmla="*/ 62 h 65"/>
                <a:gd name="T60" fmla="*/ 17 w 60"/>
                <a:gd name="T61" fmla="*/ 61 h 65"/>
                <a:gd name="T62" fmla="*/ 25 w 60"/>
                <a:gd name="T6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5">
                  <a:moveTo>
                    <a:pt x="27" y="64"/>
                  </a:moveTo>
                  <a:cubicBezTo>
                    <a:pt x="30" y="64"/>
                    <a:pt x="32" y="64"/>
                    <a:pt x="34" y="65"/>
                  </a:cubicBezTo>
                  <a:cubicBezTo>
                    <a:pt x="33" y="65"/>
                    <a:pt x="32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29" y="64"/>
                    <a:pt x="28" y="64"/>
                    <a:pt x="27" y="64"/>
                  </a:cubicBezTo>
                  <a:moveTo>
                    <a:pt x="27" y="64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moveTo>
                    <a:pt x="42" y="2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5" y="65"/>
                    <a:pt x="36" y="65"/>
                    <a:pt x="37" y="65"/>
                  </a:cubicBezTo>
                  <a:cubicBezTo>
                    <a:pt x="51" y="65"/>
                    <a:pt x="54" y="57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60" y="28"/>
                    <a:pt x="60" y="22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5"/>
                    <a:pt x="56" y="13"/>
                    <a:pt x="55" y="11"/>
                  </a:cubicBezTo>
                  <a:cubicBezTo>
                    <a:pt x="51" y="7"/>
                    <a:pt x="47" y="4"/>
                    <a:pt x="42" y="2"/>
                  </a:cubicBezTo>
                  <a:moveTo>
                    <a:pt x="25" y="0"/>
                  </a:moveTo>
                  <a:cubicBezTo>
                    <a:pt x="17" y="1"/>
                    <a:pt x="11" y="4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11"/>
                    <a:pt x="4" y="15"/>
                    <a:pt x="3" y="19"/>
                  </a:cubicBezTo>
                  <a:cubicBezTo>
                    <a:pt x="2" y="22"/>
                    <a:pt x="1" y="25"/>
                    <a:pt x="1" y="28"/>
                  </a:cubicBezTo>
                  <a:cubicBezTo>
                    <a:pt x="0" y="32"/>
                    <a:pt x="0" y="36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0" y="47"/>
                    <a:pt x="2" y="50"/>
                  </a:cubicBezTo>
                  <a:cubicBezTo>
                    <a:pt x="4" y="56"/>
                    <a:pt x="10" y="60"/>
                    <a:pt x="20" y="62"/>
                  </a:cubicBezTo>
                  <a:cubicBezTo>
                    <a:pt x="19" y="62"/>
                    <a:pt x="18" y="62"/>
                    <a:pt x="17" y="61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E8C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77"/>
            <p:cNvSpPr>
              <a:spLocks/>
            </p:cNvSpPr>
            <p:nvPr/>
          </p:nvSpPr>
          <p:spPr bwMode="auto">
            <a:xfrm>
              <a:off x="2157413" y="2555876"/>
              <a:ext cx="322263" cy="287338"/>
            </a:xfrm>
            <a:custGeom>
              <a:avLst/>
              <a:gdLst>
                <a:gd name="T0" fmla="*/ 11 w 66"/>
                <a:gd name="T1" fmla="*/ 0 h 59"/>
                <a:gd name="T2" fmla="*/ 8 w 66"/>
                <a:gd name="T3" fmla="*/ 2 h 59"/>
                <a:gd name="T4" fmla="*/ 4 w 66"/>
                <a:gd name="T5" fmla="*/ 20 h 59"/>
                <a:gd name="T6" fmla="*/ 30 w 66"/>
                <a:gd name="T7" fmla="*/ 57 h 59"/>
                <a:gd name="T8" fmla="*/ 42 w 66"/>
                <a:gd name="T9" fmla="*/ 59 h 59"/>
                <a:gd name="T10" fmla="*/ 43 w 66"/>
                <a:gd name="T11" fmla="*/ 59 h 59"/>
                <a:gd name="T12" fmla="*/ 65 w 66"/>
                <a:gd name="T13" fmla="*/ 27 h 59"/>
                <a:gd name="T14" fmla="*/ 66 w 66"/>
                <a:gd name="T15" fmla="*/ 13 h 59"/>
                <a:gd name="T16" fmla="*/ 64 w 66"/>
                <a:gd name="T17" fmla="*/ 9 h 59"/>
                <a:gd name="T18" fmla="*/ 65 w 66"/>
                <a:gd name="T19" fmla="*/ 14 h 59"/>
                <a:gd name="T20" fmla="*/ 65 w 66"/>
                <a:gd name="T21" fmla="*/ 15 h 59"/>
                <a:gd name="T22" fmla="*/ 63 w 66"/>
                <a:gd name="T23" fmla="*/ 27 h 59"/>
                <a:gd name="T24" fmla="*/ 63 w 66"/>
                <a:gd name="T25" fmla="*/ 27 h 59"/>
                <a:gd name="T26" fmla="*/ 42 w 66"/>
                <a:gd name="T27" fmla="*/ 57 h 59"/>
                <a:gd name="T28" fmla="*/ 42 w 66"/>
                <a:gd name="T29" fmla="*/ 57 h 59"/>
                <a:gd name="T30" fmla="*/ 42 w 66"/>
                <a:gd name="T31" fmla="*/ 57 h 59"/>
                <a:gd name="T32" fmla="*/ 39 w 66"/>
                <a:gd name="T33" fmla="*/ 57 h 59"/>
                <a:gd name="T34" fmla="*/ 39 w 66"/>
                <a:gd name="T35" fmla="*/ 57 h 59"/>
                <a:gd name="T36" fmla="*/ 39 w 66"/>
                <a:gd name="T37" fmla="*/ 57 h 59"/>
                <a:gd name="T38" fmla="*/ 32 w 66"/>
                <a:gd name="T39" fmla="*/ 56 h 59"/>
                <a:gd name="T40" fmla="*/ 32 w 66"/>
                <a:gd name="T41" fmla="*/ 56 h 59"/>
                <a:gd name="T42" fmla="*/ 30 w 66"/>
                <a:gd name="T43" fmla="*/ 55 h 59"/>
                <a:gd name="T44" fmla="*/ 29 w 66"/>
                <a:gd name="T45" fmla="*/ 55 h 59"/>
                <a:gd name="T46" fmla="*/ 26 w 66"/>
                <a:gd name="T47" fmla="*/ 54 h 59"/>
                <a:gd name="T48" fmla="*/ 26 w 66"/>
                <a:gd name="T49" fmla="*/ 54 h 59"/>
                <a:gd name="T50" fmla="*/ 26 w 66"/>
                <a:gd name="T51" fmla="*/ 54 h 59"/>
                <a:gd name="T52" fmla="*/ 7 w 66"/>
                <a:gd name="T53" fmla="*/ 42 h 59"/>
                <a:gd name="T54" fmla="*/ 6 w 66"/>
                <a:gd name="T55" fmla="*/ 20 h 59"/>
                <a:gd name="T56" fmla="*/ 8 w 66"/>
                <a:gd name="T57" fmla="*/ 11 h 59"/>
                <a:gd name="T58" fmla="*/ 11 w 66"/>
                <a:gd name="T5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" h="59">
                  <a:moveTo>
                    <a:pt x="11" y="0"/>
                  </a:moveTo>
                  <a:cubicBezTo>
                    <a:pt x="10" y="1"/>
                    <a:pt x="9" y="1"/>
                    <a:pt x="8" y="2"/>
                  </a:cubicBezTo>
                  <a:cubicBezTo>
                    <a:pt x="7" y="7"/>
                    <a:pt x="6" y="13"/>
                    <a:pt x="4" y="20"/>
                  </a:cubicBezTo>
                  <a:cubicBezTo>
                    <a:pt x="0" y="43"/>
                    <a:pt x="5" y="53"/>
                    <a:pt x="30" y="57"/>
                  </a:cubicBezTo>
                  <a:cubicBezTo>
                    <a:pt x="35" y="58"/>
                    <a:pt x="39" y="59"/>
                    <a:pt x="42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57" y="58"/>
                    <a:pt x="61" y="50"/>
                    <a:pt x="65" y="27"/>
                  </a:cubicBezTo>
                  <a:cubicBezTo>
                    <a:pt x="66" y="22"/>
                    <a:pt x="66" y="17"/>
                    <a:pt x="66" y="13"/>
                  </a:cubicBezTo>
                  <a:cubicBezTo>
                    <a:pt x="66" y="12"/>
                    <a:pt x="65" y="11"/>
                    <a:pt x="64" y="9"/>
                  </a:cubicBezTo>
                  <a:cubicBezTo>
                    <a:pt x="64" y="11"/>
                    <a:pt x="65" y="13"/>
                    <a:pt x="65" y="14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8"/>
                    <a:pt x="64" y="22"/>
                    <a:pt x="63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59" y="49"/>
                    <a:pt x="56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1" y="57"/>
                    <a:pt x="40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7" y="56"/>
                    <a:pt x="35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1" y="56"/>
                    <a:pt x="31" y="55"/>
                    <a:pt x="30" y="55"/>
                  </a:cubicBezTo>
                  <a:cubicBezTo>
                    <a:pt x="30" y="55"/>
                    <a:pt x="30" y="55"/>
                    <a:pt x="29" y="55"/>
                  </a:cubicBezTo>
                  <a:cubicBezTo>
                    <a:pt x="28" y="55"/>
                    <a:pt x="27" y="55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15" y="52"/>
                    <a:pt x="9" y="48"/>
                    <a:pt x="7" y="42"/>
                  </a:cubicBezTo>
                  <a:cubicBezTo>
                    <a:pt x="4" y="37"/>
                    <a:pt x="4" y="29"/>
                    <a:pt x="6" y="20"/>
                  </a:cubicBezTo>
                  <a:cubicBezTo>
                    <a:pt x="6" y="17"/>
                    <a:pt x="7" y="14"/>
                    <a:pt x="8" y="11"/>
                  </a:cubicBezTo>
                  <a:cubicBezTo>
                    <a:pt x="9" y="7"/>
                    <a:pt x="10" y="3"/>
                    <a:pt x="11" y="0"/>
                  </a:cubicBezTo>
                </a:path>
              </a:pathLst>
            </a:custGeom>
            <a:solidFill>
              <a:srgbClr val="B477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78"/>
            <p:cNvSpPr>
              <a:spLocks noEditPoints="1"/>
            </p:cNvSpPr>
            <p:nvPr/>
          </p:nvSpPr>
          <p:spPr bwMode="auto">
            <a:xfrm>
              <a:off x="2192338" y="2555876"/>
              <a:ext cx="282575" cy="276225"/>
            </a:xfrm>
            <a:custGeom>
              <a:avLst/>
              <a:gdLst>
                <a:gd name="T0" fmla="*/ 32 w 58"/>
                <a:gd name="T1" fmla="*/ 57 h 57"/>
                <a:gd name="T2" fmla="*/ 32 w 58"/>
                <a:gd name="T3" fmla="*/ 57 h 57"/>
                <a:gd name="T4" fmla="*/ 35 w 58"/>
                <a:gd name="T5" fmla="*/ 57 h 57"/>
                <a:gd name="T6" fmla="*/ 35 w 58"/>
                <a:gd name="T7" fmla="*/ 57 h 57"/>
                <a:gd name="T8" fmla="*/ 32 w 58"/>
                <a:gd name="T9" fmla="*/ 57 h 57"/>
                <a:gd name="T10" fmla="*/ 25 w 58"/>
                <a:gd name="T11" fmla="*/ 56 h 57"/>
                <a:gd name="T12" fmla="*/ 32 w 58"/>
                <a:gd name="T13" fmla="*/ 57 h 57"/>
                <a:gd name="T14" fmla="*/ 32 w 58"/>
                <a:gd name="T15" fmla="*/ 57 h 57"/>
                <a:gd name="T16" fmla="*/ 25 w 58"/>
                <a:gd name="T17" fmla="*/ 56 h 57"/>
                <a:gd name="T18" fmla="*/ 25 w 58"/>
                <a:gd name="T19" fmla="*/ 56 h 57"/>
                <a:gd name="T20" fmla="*/ 25 w 58"/>
                <a:gd name="T21" fmla="*/ 56 h 57"/>
                <a:gd name="T22" fmla="*/ 25 w 58"/>
                <a:gd name="T23" fmla="*/ 56 h 57"/>
                <a:gd name="T24" fmla="*/ 25 w 58"/>
                <a:gd name="T25" fmla="*/ 56 h 57"/>
                <a:gd name="T26" fmla="*/ 25 w 58"/>
                <a:gd name="T27" fmla="*/ 56 h 57"/>
                <a:gd name="T28" fmla="*/ 25 w 58"/>
                <a:gd name="T29" fmla="*/ 56 h 57"/>
                <a:gd name="T30" fmla="*/ 19 w 58"/>
                <a:gd name="T31" fmla="*/ 54 h 57"/>
                <a:gd name="T32" fmla="*/ 19 w 58"/>
                <a:gd name="T33" fmla="*/ 54 h 57"/>
                <a:gd name="T34" fmla="*/ 19 w 58"/>
                <a:gd name="T35" fmla="*/ 54 h 57"/>
                <a:gd name="T36" fmla="*/ 0 w 58"/>
                <a:gd name="T37" fmla="*/ 42 h 57"/>
                <a:gd name="T38" fmla="*/ 19 w 58"/>
                <a:gd name="T39" fmla="*/ 54 h 57"/>
                <a:gd name="T40" fmla="*/ 18 w 58"/>
                <a:gd name="T41" fmla="*/ 54 h 57"/>
                <a:gd name="T42" fmla="*/ 0 w 58"/>
                <a:gd name="T43" fmla="*/ 42 h 57"/>
                <a:gd name="T44" fmla="*/ 57 w 58"/>
                <a:gd name="T45" fmla="*/ 9 h 57"/>
                <a:gd name="T46" fmla="*/ 56 w 58"/>
                <a:gd name="T47" fmla="*/ 27 h 57"/>
                <a:gd name="T48" fmla="*/ 56 w 58"/>
                <a:gd name="T49" fmla="*/ 27 h 57"/>
                <a:gd name="T50" fmla="*/ 56 w 58"/>
                <a:gd name="T51" fmla="*/ 27 h 57"/>
                <a:gd name="T52" fmla="*/ 58 w 58"/>
                <a:gd name="T53" fmla="*/ 15 h 57"/>
                <a:gd name="T54" fmla="*/ 58 w 58"/>
                <a:gd name="T55" fmla="*/ 14 h 57"/>
                <a:gd name="T56" fmla="*/ 57 w 58"/>
                <a:gd name="T57" fmla="*/ 9 h 57"/>
                <a:gd name="T58" fmla="*/ 57 w 58"/>
                <a:gd name="T59" fmla="*/ 9 h 57"/>
                <a:gd name="T60" fmla="*/ 4 w 58"/>
                <a:gd name="T61" fmla="*/ 0 h 57"/>
                <a:gd name="T62" fmla="*/ 4 w 58"/>
                <a:gd name="T63" fmla="*/ 0 h 57"/>
                <a:gd name="T64" fmla="*/ 4 w 58"/>
                <a:gd name="T65" fmla="*/ 0 h 57"/>
                <a:gd name="T66" fmla="*/ 1 w 58"/>
                <a:gd name="T67" fmla="*/ 11 h 57"/>
                <a:gd name="T68" fmla="*/ 4 w 58"/>
                <a:gd name="T6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8" h="57"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4" y="57"/>
                    <a:pt x="33" y="57"/>
                    <a:pt x="32" y="57"/>
                  </a:cubicBezTo>
                  <a:moveTo>
                    <a:pt x="25" y="56"/>
                  </a:moveTo>
                  <a:cubicBezTo>
                    <a:pt x="28" y="56"/>
                    <a:pt x="30" y="56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0" y="56"/>
                    <a:pt x="28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56"/>
                    <a:pt x="25" y="56"/>
                    <a:pt x="25" y="56"/>
                  </a:cubicBezTo>
                  <a:moveTo>
                    <a:pt x="19" y="54"/>
                  </a:moveTo>
                  <a:cubicBezTo>
                    <a:pt x="19" y="54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moveTo>
                    <a:pt x="0" y="42"/>
                  </a:moveTo>
                  <a:cubicBezTo>
                    <a:pt x="2" y="48"/>
                    <a:pt x="8" y="52"/>
                    <a:pt x="19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8" y="52"/>
                    <a:pt x="2" y="48"/>
                    <a:pt x="0" y="42"/>
                  </a:cubicBezTo>
                  <a:moveTo>
                    <a:pt x="57" y="9"/>
                  </a:moveTo>
                  <a:cubicBezTo>
                    <a:pt x="58" y="14"/>
                    <a:pt x="58" y="20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7" y="22"/>
                    <a:pt x="58" y="18"/>
                    <a:pt x="58" y="15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3"/>
                    <a:pt x="57" y="11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2" y="7"/>
                    <a:pt x="1" y="11"/>
                  </a:cubicBezTo>
                  <a:cubicBezTo>
                    <a:pt x="2" y="7"/>
                    <a:pt x="3" y="3"/>
                    <a:pt x="4" y="0"/>
                  </a:cubicBezTo>
                </a:path>
              </a:pathLst>
            </a:custGeom>
            <a:solidFill>
              <a:srgbClr val="BD8B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79"/>
            <p:cNvSpPr>
              <a:spLocks/>
            </p:cNvSpPr>
            <p:nvPr/>
          </p:nvSpPr>
          <p:spPr bwMode="auto">
            <a:xfrm>
              <a:off x="1870076" y="3154363"/>
              <a:ext cx="536575" cy="730250"/>
            </a:xfrm>
            <a:custGeom>
              <a:avLst/>
              <a:gdLst>
                <a:gd name="T0" fmla="*/ 45 w 110"/>
                <a:gd name="T1" fmla="*/ 0 h 150"/>
                <a:gd name="T2" fmla="*/ 39 w 110"/>
                <a:gd name="T3" fmla="*/ 14 h 150"/>
                <a:gd name="T4" fmla="*/ 10 w 110"/>
                <a:gd name="T5" fmla="*/ 113 h 150"/>
                <a:gd name="T6" fmla="*/ 0 w 110"/>
                <a:gd name="T7" fmla="*/ 139 h 150"/>
                <a:gd name="T8" fmla="*/ 0 w 110"/>
                <a:gd name="T9" fmla="*/ 139 h 150"/>
                <a:gd name="T10" fmla="*/ 8 w 110"/>
                <a:gd name="T11" fmla="*/ 150 h 150"/>
                <a:gd name="T12" fmla="*/ 20 w 110"/>
                <a:gd name="T13" fmla="*/ 144 h 150"/>
                <a:gd name="T14" fmla="*/ 55 w 110"/>
                <a:gd name="T15" fmla="*/ 108 h 150"/>
                <a:gd name="T16" fmla="*/ 69 w 110"/>
                <a:gd name="T17" fmla="*/ 111 h 150"/>
                <a:gd name="T18" fmla="*/ 94 w 110"/>
                <a:gd name="T19" fmla="*/ 118 h 150"/>
                <a:gd name="T20" fmla="*/ 101 w 110"/>
                <a:gd name="T21" fmla="*/ 101 h 150"/>
                <a:gd name="T22" fmla="*/ 108 w 110"/>
                <a:gd name="T23" fmla="*/ 17 h 150"/>
                <a:gd name="T24" fmla="*/ 110 w 110"/>
                <a:gd name="T25" fmla="*/ 11 h 150"/>
                <a:gd name="T26" fmla="*/ 110 w 110"/>
                <a:gd name="T27" fmla="*/ 11 h 150"/>
                <a:gd name="T28" fmla="*/ 106 w 110"/>
                <a:gd name="T29" fmla="*/ 8 h 150"/>
                <a:gd name="T30" fmla="*/ 74 w 110"/>
                <a:gd name="T31" fmla="*/ 12 h 150"/>
                <a:gd name="T32" fmla="*/ 45 w 110"/>
                <a:gd name="T3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50">
                  <a:moveTo>
                    <a:pt x="45" y="0"/>
                  </a:moveTo>
                  <a:cubicBezTo>
                    <a:pt x="42" y="0"/>
                    <a:pt x="40" y="3"/>
                    <a:pt x="39" y="14"/>
                  </a:cubicBezTo>
                  <a:cubicBezTo>
                    <a:pt x="36" y="45"/>
                    <a:pt x="30" y="79"/>
                    <a:pt x="10" y="113"/>
                  </a:cubicBezTo>
                  <a:cubicBezTo>
                    <a:pt x="3" y="124"/>
                    <a:pt x="0" y="133"/>
                    <a:pt x="0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46"/>
                    <a:pt x="3" y="150"/>
                    <a:pt x="8" y="150"/>
                  </a:cubicBezTo>
                  <a:cubicBezTo>
                    <a:pt x="11" y="150"/>
                    <a:pt x="16" y="148"/>
                    <a:pt x="20" y="144"/>
                  </a:cubicBezTo>
                  <a:cubicBezTo>
                    <a:pt x="32" y="131"/>
                    <a:pt x="35" y="108"/>
                    <a:pt x="55" y="108"/>
                  </a:cubicBezTo>
                  <a:cubicBezTo>
                    <a:pt x="58" y="108"/>
                    <a:pt x="63" y="109"/>
                    <a:pt x="69" y="111"/>
                  </a:cubicBezTo>
                  <a:cubicBezTo>
                    <a:pt x="81" y="116"/>
                    <a:pt x="89" y="118"/>
                    <a:pt x="94" y="118"/>
                  </a:cubicBezTo>
                  <a:cubicBezTo>
                    <a:pt x="103" y="118"/>
                    <a:pt x="104" y="112"/>
                    <a:pt x="101" y="101"/>
                  </a:cubicBezTo>
                  <a:cubicBezTo>
                    <a:pt x="97" y="83"/>
                    <a:pt x="100" y="35"/>
                    <a:pt x="108" y="17"/>
                  </a:cubicBezTo>
                  <a:cubicBezTo>
                    <a:pt x="110" y="14"/>
                    <a:pt x="110" y="13"/>
                    <a:pt x="110" y="1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10" y="9"/>
                    <a:pt x="109" y="8"/>
                    <a:pt x="106" y="8"/>
                  </a:cubicBezTo>
                  <a:cubicBezTo>
                    <a:pt x="99" y="8"/>
                    <a:pt x="87" y="12"/>
                    <a:pt x="74" y="12"/>
                  </a:cubicBezTo>
                  <a:cubicBezTo>
                    <a:pt x="61" y="12"/>
                    <a:pt x="51" y="0"/>
                    <a:pt x="45" y="0"/>
                  </a:cubicBezTo>
                </a:path>
              </a:pathLst>
            </a:custGeom>
            <a:solidFill>
              <a:srgbClr val="DBAB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80"/>
            <p:cNvSpPr>
              <a:spLocks/>
            </p:cNvSpPr>
            <p:nvPr/>
          </p:nvSpPr>
          <p:spPr bwMode="auto">
            <a:xfrm>
              <a:off x="1874838" y="4546601"/>
              <a:ext cx="584200" cy="1465263"/>
            </a:xfrm>
            <a:custGeom>
              <a:avLst/>
              <a:gdLst>
                <a:gd name="T0" fmla="*/ 120 w 120"/>
                <a:gd name="T1" fmla="*/ 0 h 301"/>
                <a:gd name="T2" fmla="*/ 120 w 120"/>
                <a:gd name="T3" fmla="*/ 0 h 301"/>
                <a:gd name="T4" fmla="*/ 69 w 120"/>
                <a:gd name="T5" fmla="*/ 86 h 301"/>
                <a:gd name="T6" fmla="*/ 1 w 120"/>
                <a:gd name="T7" fmla="*/ 275 h 301"/>
                <a:gd name="T8" fmla="*/ 0 w 120"/>
                <a:gd name="T9" fmla="*/ 301 h 301"/>
                <a:gd name="T10" fmla="*/ 31 w 120"/>
                <a:gd name="T11" fmla="*/ 301 h 301"/>
                <a:gd name="T12" fmla="*/ 62 w 120"/>
                <a:gd name="T13" fmla="*/ 169 h 301"/>
                <a:gd name="T14" fmla="*/ 119 w 120"/>
                <a:gd name="T15" fmla="*/ 3 h 301"/>
                <a:gd name="T16" fmla="*/ 120 w 120"/>
                <a:gd name="T17" fmla="*/ 1 h 301"/>
                <a:gd name="T18" fmla="*/ 120 w 120"/>
                <a:gd name="T19" fmla="*/ 0 h 301"/>
                <a:gd name="T20" fmla="*/ 120 w 120"/>
                <a:gd name="T21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301">
                  <a:moveTo>
                    <a:pt x="120" y="0"/>
                  </a:moveTo>
                  <a:cubicBezTo>
                    <a:pt x="120" y="0"/>
                    <a:pt x="120" y="0"/>
                    <a:pt x="120" y="0"/>
                  </a:cubicBezTo>
                  <a:cubicBezTo>
                    <a:pt x="118" y="1"/>
                    <a:pt x="92" y="51"/>
                    <a:pt x="69" y="86"/>
                  </a:cubicBezTo>
                  <a:cubicBezTo>
                    <a:pt x="43" y="126"/>
                    <a:pt x="9" y="188"/>
                    <a:pt x="1" y="275"/>
                  </a:cubicBezTo>
                  <a:cubicBezTo>
                    <a:pt x="1" y="283"/>
                    <a:pt x="0" y="292"/>
                    <a:pt x="0" y="301"/>
                  </a:cubicBezTo>
                  <a:cubicBezTo>
                    <a:pt x="31" y="301"/>
                    <a:pt x="31" y="301"/>
                    <a:pt x="31" y="301"/>
                  </a:cubicBezTo>
                  <a:cubicBezTo>
                    <a:pt x="38" y="229"/>
                    <a:pt x="52" y="204"/>
                    <a:pt x="62" y="169"/>
                  </a:cubicBezTo>
                  <a:cubicBezTo>
                    <a:pt x="73" y="124"/>
                    <a:pt x="116" y="30"/>
                    <a:pt x="119" y="3"/>
                  </a:cubicBezTo>
                  <a:cubicBezTo>
                    <a:pt x="120" y="2"/>
                    <a:pt x="120" y="1"/>
                    <a:pt x="120" y="1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</a:path>
              </a:pathLst>
            </a:custGeom>
            <a:solidFill>
              <a:srgbClr val="E0B2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81"/>
            <p:cNvSpPr>
              <a:spLocks/>
            </p:cNvSpPr>
            <p:nvPr/>
          </p:nvSpPr>
          <p:spPr bwMode="auto">
            <a:xfrm>
              <a:off x="2298701" y="2822576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1 w 3"/>
                <a:gd name="T3" fmla="*/ 0 h 1"/>
                <a:gd name="T4" fmla="*/ 3 w 3"/>
                <a:gd name="T5" fmla="*/ 1 h 1"/>
                <a:gd name="T6" fmla="*/ 1 w 3"/>
                <a:gd name="T7" fmla="*/ 0 h 1"/>
                <a:gd name="T8" fmla="*/ 1 w 3"/>
                <a:gd name="T9" fmla="*/ 0 h 1"/>
                <a:gd name="T10" fmla="*/ 1 w 3"/>
                <a:gd name="T11" fmla="*/ 0 h 1"/>
                <a:gd name="T12" fmla="*/ 1 w 3"/>
                <a:gd name="T13" fmla="*/ 0 h 1"/>
                <a:gd name="T14" fmla="*/ 0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82"/>
            <p:cNvSpPr>
              <a:spLocks/>
            </p:cNvSpPr>
            <p:nvPr/>
          </p:nvSpPr>
          <p:spPr bwMode="auto">
            <a:xfrm>
              <a:off x="2347913" y="2501901"/>
              <a:ext cx="14288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3 w 3"/>
                <a:gd name="T4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83"/>
            <p:cNvSpPr>
              <a:spLocks noEditPoints="1"/>
            </p:cNvSpPr>
            <p:nvPr/>
          </p:nvSpPr>
          <p:spPr bwMode="auto">
            <a:xfrm>
              <a:off x="2338388" y="2501901"/>
              <a:ext cx="9525" cy="0"/>
            </a:xfrm>
            <a:custGeom>
              <a:avLst/>
              <a:gdLst>
                <a:gd name="T0" fmla="*/ 1 w 2"/>
                <a:gd name="T1" fmla="*/ 2 w 2"/>
                <a:gd name="T2" fmla="*/ 2 w 2"/>
                <a:gd name="T3" fmla="*/ 1 w 2"/>
                <a:gd name="T4" fmla="*/ 0 w 2"/>
                <a:gd name="T5" fmla="*/ 1 w 2"/>
                <a:gd name="T6" fmla="*/ 0 w 2"/>
                <a:gd name="T7" fmla="*/ 0 w 2"/>
                <a:gd name="T8" fmla="*/ 0 w 2"/>
                <a:gd name="T9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84"/>
            <p:cNvSpPr>
              <a:spLocks/>
            </p:cNvSpPr>
            <p:nvPr/>
          </p:nvSpPr>
          <p:spPr bwMode="auto">
            <a:xfrm>
              <a:off x="2347913" y="2501901"/>
              <a:ext cx="14288" cy="0"/>
            </a:xfrm>
            <a:custGeom>
              <a:avLst/>
              <a:gdLst>
                <a:gd name="T0" fmla="*/ 0 w 3"/>
                <a:gd name="T1" fmla="*/ 3 w 3"/>
                <a:gd name="T2" fmla="*/ 0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85"/>
            <p:cNvSpPr>
              <a:spLocks/>
            </p:cNvSpPr>
            <p:nvPr/>
          </p:nvSpPr>
          <p:spPr bwMode="auto">
            <a:xfrm>
              <a:off x="2362201" y="2501901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3 w 3"/>
                <a:gd name="T5" fmla="*/ 1 h 1"/>
                <a:gd name="T6" fmla="*/ 3 w 3"/>
                <a:gd name="T7" fmla="*/ 1 h 1"/>
                <a:gd name="T8" fmla="*/ 0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86"/>
            <p:cNvSpPr>
              <a:spLocks/>
            </p:cNvSpPr>
            <p:nvPr/>
          </p:nvSpPr>
          <p:spPr bwMode="auto">
            <a:xfrm>
              <a:off x="2362201" y="2501901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9694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87"/>
            <p:cNvSpPr>
              <a:spLocks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88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89"/>
            <p:cNvSpPr>
              <a:spLocks/>
            </p:cNvSpPr>
            <p:nvPr/>
          </p:nvSpPr>
          <p:spPr bwMode="auto">
            <a:xfrm>
              <a:off x="2303463" y="2822576"/>
              <a:ext cx="9525" cy="476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2 w 2"/>
                <a:gd name="T5" fmla="*/ 1 h 1"/>
                <a:gd name="T6" fmla="*/ 1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90"/>
            <p:cNvSpPr>
              <a:spLocks noEditPoints="1"/>
            </p:cNvSpPr>
            <p:nvPr/>
          </p:nvSpPr>
          <p:spPr bwMode="auto">
            <a:xfrm>
              <a:off x="2303463" y="2822576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B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Freeform 91"/>
            <p:cNvSpPr>
              <a:spLocks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Freeform 92"/>
            <p:cNvSpPr>
              <a:spLocks/>
            </p:cNvSpPr>
            <p:nvPr/>
          </p:nvSpPr>
          <p:spPr bwMode="auto">
            <a:xfrm>
              <a:off x="2328863" y="2827338"/>
              <a:ext cx="476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93"/>
            <p:cNvSpPr>
              <a:spLocks noEditPoints="1"/>
            </p:cNvSpPr>
            <p:nvPr/>
          </p:nvSpPr>
          <p:spPr bwMode="auto">
            <a:xfrm>
              <a:off x="2338388" y="2497138"/>
              <a:ext cx="0" cy="4763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  <a:gd name="T4" fmla="*/ 0 h 1"/>
                <a:gd name="T5" fmla="*/ 0 h 1"/>
                <a:gd name="T6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94"/>
            <p:cNvSpPr>
              <a:spLocks/>
            </p:cNvSpPr>
            <p:nvPr/>
          </p:nvSpPr>
          <p:spPr bwMode="auto">
            <a:xfrm>
              <a:off x="2303463" y="2497138"/>
              <a:ext cx="34925" cy="19050"/>
            </a:xfrm>
            <a:custGeom>
              <a:avLst/>
              <a:gdLst>
                <a:gd name="T0" fmla="*/ 1 w 7"/>
                <a:gd name="T1" fmla="*/ 0 h 4"/>
                <a:gd name="T2" fmla="*/ 0 w 7"/>
                <a:gd name="T3" fmla="*/ 0 h 4"/>
                <a:gd name="T4" fmla="*/ 0 w 7"/>
                <a:gd name="T5" fmla="*/ 4 h 4"/>
                <a:gd name="T6" fmla="*/ 3 w 7"/>
                <a:gd name="T7" fmla="*/ 4 h 4"/>
                <a:gd name="T8" fmla="*/ 3 w 7"/>
                <a:gd name="T9" fmla="*/ 0 h 4"/>
                <a:gd name="T10" fmla="*/ 6 w 7"/>
                <a:gd name="T11" fmla="*/ 0 h 4"/>
                <a:gd name="T12" fmla="*/ 6 w 7"/>
                <a:gd name="T13" fmla="*/ 0 h 4"/>
                <a:gd name="T14" fmla="*/ 7 w 7"/>
                <a:gd name="T15" fmla="*/ 0 h 4"/>
                <a:gd name="T16" fmla="*/ 7 w 7"/>
                <a:gd name="T17" fmla="*/ 0 h 4"/>
                <a:gd name="T18" fmla="*/ 7 w 7"/>
                <a:gd name="T19" fmla="*/ 0 h 4"/>
                <a:gd name="T20" fmla="*/ 7 w 7"/>
                <a:gd name="T21" fmla="*/ 0 h 4"/>
                <a:gd name="T22" fmla="*/ 7 w 7"/>
                <a:gd name="T23" fmla="*/ 0 h 4"/>
                <a:gd name="T24" fmla="*/ 1 w 7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1" y="0"/>
                  </a:cubicBezTo>
                </a:path>
              </a:pathLst>
            </a:custGeom>
            <a:solidFill>
              <a:srgbClr val="9694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Freeform 95"/>
            <p:cNvSpPr>
              <a:spLocks/>
            </p:cNvSpPr>
            <p:nvPr/>
          </p:nvSpPr>
          <p:spPr bwMode="auto">
            <a:xfrm>
              <a:off x="2265363" y="2516188"/>
              <a:ext cx="52388" cy="306388"/>
            </a:xfrm>
            <a:custGeom>
              <a:avLst/>
              <a:gdLst>
                <a:gd name="T0" fmla="*/ 11 w 11"/>
                <a:gd name="T1" fmla="*/ 0 h 63"/>
                <a:gd name="T2" fmla="*/ 8 w 11"/>
                <a:gd name="T3" fmla="*/ 0 h 63"/>
                <a:gd name="T4" fmla="*/ 0 w 11"/>
                <a:gd name="T5" fmla="*/ 61 h 63"/>
                <a:gd name="T6" fmla="*/ 3 w 11"/>
                <a:gd name="T7" fmla="*/ 62 h 63"/>
                <a:gd name="T8" fmla="*/ 6 w 11"/>
                <a:gd name="T9" fmla="*/ 63 h 63"/>
                <a:gd name="T10" fmla="*/ 3 w 11"/>
                <a:gd name="T11" fmla="*/ 62 h 63"/>
                <a:gd name="T12" fmla="*/ 11 w 11"/>
                <a:gd name="T1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3">
                  <a:moveTo>
                    <a:pt x="11" y="0"/>
                  </a:moveTo>
                  <a:cubicBezTo>
                    <a:pt x="10" y="0"/>
                    <a:pt x="9" y="0"/>
                    <a:pt x="8" y="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" y="62"/>
                    <a:pt x="2" y="62"/>
                    <a:pt x="3" y="62"/>
                  </a:cubicBezTo>
                  <a:cubicBezTo>
                    <a:pt x="4" y="62"/>
                    <a:pt x="5" y="63"/>
                    <a:pt x="6" y="63"/>
                  </a:cubicBezTo>
                  <a:cubicBezTo>
                    <a:pt x="5" y="63"/>
                    <a:pt x="4" y="62"/>
                    <a:pt x="3" y="62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Freeform 96"/>
            <p:cNvSpPr>
              <a:spLocks noEditPoints="1"/>
            </p:cNvSpPr>
            <p:nvPr/>
          </p:nvSpPr>
          <p:spPr bwMode="auto">
            <a:xfrm>
              <a:off x="2284413" y="2817813"/>
              <a:ext cx="14288" cy="4763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3 w 3"/>
                <a:gd name="T5" fmla="*/ 1 h 1"/>
                <a:gd name="T6" fmla="*/ 3 w 3"/>
                <a:gd name="T7" fmla="*/ 1 h 1"/>
                <a:gd name="T8" fmla="*/ 0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0 w 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1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97"/>
            <p:cNvSpPr>
              <a:spLocks/>
            </p:cNvSpPr>
            <p:nvPr/>
          </p:nvSpPr>
          <p:spPr bwMode="auto">
            <a:xfrm>
              <a:off x="2279651" y="2817813"/>
              <a:ext cx="19050" cy="4763"/>
            </a:xfrm>
            <a:custGeom>
              <a:avLst/>
              <a:gdLst>
                <a:gd name="T0" fmla="*/ 0 w 4"/>
                <a:gd name="T1" fmla="*/ 0 h 1"/>
                <a:gd name="T2" fmla="*/ 1 w 4"/>
                <a:gd name="T3" fmla="*/ 0 h 1"/>
                <a:gd name="T4" fmla="*/ 1 w 4"/>
                <a:gd name="T5" fmla="*/ 0 h 1"/>
                <a:gd name="T6" fmla="*/ 1 w 4"/>
                <a:gd name="T7" fmla="*/ 0 h 1"/>
                <a:gd name="T8" fmla="*/ 4 w 4"/>
                <a:gd name="T9" fmla="*/ 1 h 1"/>
                <a:gd name="T10" fmla="*/ 3 w 4"/>
                <a:gd name="T11" fmla="*/ 1 h 1"/>
                <a:gd name="T12" fmla="*/ 0 w 4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98"/>
            <p:cNvSpPr>
              <a:spLocks/>
            </p:cNvSpPr>
            <p:nvPr/>
          </p:nvSpPr>
          <p:spPr bwMode="auto">
            <a:xfrm>
              <a:off x="2371726" y="2506663"/>
              <a:ext cx="19050" cy="19050"/>
            </a:xfrm>
            <a:custGeom>
              <a:avLst/>
              <a:gdLst>
                <a:gd name="T0" fmla="*/ 1 w 4"/>
                <a:gd name="T1" fmla="*/ 0 h 4"/>
                <a:gd name="T2" fmla="*/ 1 w 4"/>
                <a:gd name="T3" fmla="*/ 0 h 4"/>
                <a:gd name="T4" fmla="*/ 0 w 4"/>
                <a:gd name="T5" fmla="*/ 3 h 4"/>
                <a:gd name="T6" fmla="*/ 2 w 4"/>
                <a:gd name="T7" fmla="*/ 3 h 4"/>
                <a:gd name="T8" fmla="*/ 3 w 4"/>
                <a:gd name="T9" fmla="*/ 4 h 4"/>
                <a:gd name="T10" fmla="*/ 4 w 4"/>
                <a:gd name="T11" fmla="*/ 1 h 4"/>
                <a:gd name="T12" fmla="*/ 1 w 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9694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Freeform 99"/>
            <p:cNvSpPr>
              <a:spLocks/>
            </p:cNvSpPr>
            <p:nvPr/>
          </p:nvSpPr>
          <p:spPr bwMode="auto">
            <a:xfrm>
              <a:off x="2381251" y="2520951"/>
              <a:ext cx="4763" cy="476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949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Freeform 100"/>
            <p:cNvSpPr>
              <a:spLocks/>
            </p:cNvSpPr>
            <p:nvPr/>
          </p:nvSpPr>
          <p:spPr bwMode="auto">
            <a:xfrm>
              <a:off x="2333626" y="2520951"/>
              <a:ext cx="52388" cy="311150"/>
            </a:xfrm>
            <a:custGeom>
              <a:avLst/>
              <a:gdLst>
                <a:gd name="T0" fmla="*/ 8 w 11"/>
                <a:gd name="T1" fmla="*/ 0 h 64"/>
                <a:gd name="T2" fmla="*/ 0 w 11"/>
                <a:gd name="T3" fmla="*/ 63 h 64"/>
                <a:gd name="T4" fmla="*/ 3 w 11"/>
                <a:gd name="T5" fmla="*/ 64 h 64"/>
                <a:gd name="T6" fmla="*/ 3 w 11"/>
                <a:gd name="T7" fmla="*/ 64 h 64"/>
                <a:gd name="T8" fmla="*/ 11 w 11"/>
                <a:gd name="T9" fmla="*/ 1 h 64"/>
                <a:gd name="T10" fmla="*/ 10 w 11"/>
                <a:gd name="T11" fmla="*/ 0 h 64"/>
                <a:gd name="T12" fmla="*/ 8 w 11"/>
                <a:gd name="T1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4">
                  <a:moveTo>
                    <a:pt x="8" y="0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1" y="63"/>
                    <a:pt x="2" y="64"/>
                    <a:pt x="3" y="64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Freeform 101"/>
            <p:cNvSpPr>
              <a:spLocks/>
            </p:cNvSpPr>
            <p:nvPr/>
          </p:nvSpPr>
          <p:spPr bwMode="auto">
            <a:xfrm>
              <a:off x="2347913" y="28321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697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Oval 102"/>
            <p:cNvSpPr>
              <a:spLocks noChangeArrowheads="1"/>
            </p:cNvSpPr>
            <p:nvPr/>
          </p:nvSpPr>
          <p:spPr bwMode="auto">
            <a:xfrm>
              <a:off x="2347913" y="2832101"/>
              <a:ext cx="1588" cy="1588"/>
            </a:xfrm>
            <a:prstGeom prst="ellipse">
              <a:avLst/>
            </a:pr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Freeform 103"/>
            <p:cNvSpPr>
              <a:spLocks/>
            </p:cNvSpPr>
            <p:nvPr/>
          </p:nvSpPr>
          <p:spPr bwMode="auto">
            <a:xfrm>
              <a:off x="2333626" y="2497138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Freeform 104"/>
            <p:cNvSpPr>
              <a:spLocks/>
            </p:cNvSpPr>
            <p:nvPr/>
          </p:nvSpPr>
          <p:spPr bwMode="auto">
            <a:xfrm>
              <a:off x="2298701" y="2822576"/>
              <a:ext cx="4763" cy="0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105"/>
            <p:cNvSpPr>
              <a:spLocks noEditPoints="1"/>
            </p:cNvSpPr>
            <p:nvPr/>
          </p:nvSpPr>
          <p:spPr bwMode="auto">
            <a:xfrm>
              <a:off x="2338388" y="2501901"/>
              <a:ext cx="23813" cy="0"/>
            </a:xfrm>
            <a:custGeom>
              <a:avLst/>
              <a:gdLst>
                <a:gd name="T0" fmla="*/ 5 w 5"/>
                <a:gd name="T1" fmla="*/ 5 w 5"/>
                <a:gd name="T2" fmla="*/ 5 w 5"/>
                <a:gd name="T3" fmla="*/ 5 w 5"/>
                <a:gd name="T4" fmla="*/ 5 w 5"/>
                <a:gd name="T5" fmla="*/ 5 w 5"/>
                <a:gd name="T6" fmla="*/ 1 w 5"/>
                <a:gd name="T7" fmla="*/ 1 w 5"/>
                <a:gd name="T8" fmla="*/ 1 w 5"/>
                <a:gd name="T9" fmla="*/ 0 w 5"/>
                <a:gd name="T10" fmla="*/ 0 w 5"/>
                <a:gd name="T11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106"/>
            <p:cNvSpPr>
              <a:spLocks/>
            </p:cNvSpPr>
            <p:nvPr/>
          </p:nvSpPr>
          <p:spPr bwMode="auto">
            <a:xfrm>
              <a:off x="2362201" y="25019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9" name="Freeform 107"/>
            <p:cNvSpPr>
              <a:spLocks noEditPoints="1"/>
            </p:cNvSpPr>
            <p:nvPr/>
          </p:nvSpPr>
          <p:spPr bwMode="auto">
            <a:xfrm>
              <a:off x="2312988" y="2827338"/>
              <a:ext cx="15875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0 w 3"/>
                <a:gd name="T4" fmla="*/ 3 w 3"/>
                <a:gd name="T5" fmla="*/ 0 w 3"/>
                <a:gd name="T6" fmla="*/ 0 w 3"/>
                <a:gd name="T7" fmla="*/ 0 w 3"/>
                <a:gd name="T8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DDA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0" name="Freeform 108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DA7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109"/>
            <p:cNvSpPr>
              <a:spLocks/>
            </p:cNvSpPr>
            <p:nvPr/>
          </p:nvSpPr>
          <p:spPr bwMode="auto">
            <a:xfrm>
              <a:off x="2317751" y="2497138"/>
              <a:ext cx="15875" cy="19050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4 h 4"/>
                <a:gd name="T4" fmla="*/ 1 w 3"/>
                <a:gd name="T5" fmla="*/ 4 h 4"/>
                <a:gd name="T6" fmla="*/ 3 w 3"/>
                <a:gd name="T7" fmla="*/ 4 h 4"/>
                <a:gd name="T8" fmla="*/ 3 w 3"/>
                <a:gd name="T9" fmla="*/ 0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110"/>
            <p:cNvSpPr>
              <a:spLocks/>
            </p:cNvSpPr>
            <p:nvPr/>
          </p:nvSpPr>
          <p:spPr bwMode="auto">
            <a:xfrm>
              <a:off x="2279651" y="2516188"/>
              <a:ext cx="53975" cy="306388"/>
            </a:xfrm>
            <a:custGeom>
              <a:avLst/>
              <a:gdLst>
                <a:gd name="T0" fmla="*/ 9 w 11"/>
                <a:gd name="T1" fmla="*/ 0 h 63"/>
                <a:gd name="T2" fmla="*/ 8 w 11"/>
                <a:gd name="T3" fmla="*/ 0 h 63"/>
                <a:gd name="T4" fmla="*/ 0 w 11"/>
                <a:gd name="T5" fmla="*/ 62 h 63"/>
                <a:gd name="T6" fmla="*/ 3 w 11"/>
                <a:gd name="T7" fmla="*/ 63 h 63"/>
                <a:gd name="T8" fmla="*/ 4 w 11"/>
                <a:gd name="T9" fmla="*/ 63 h 63"/>
                <a:gd name="T10" fmla="*/ 3 w 11"/>
                <a:gd name="T11" fmla="*/ 63 h 63"/>
                <a:gd name="T12" fmla="*/ 3 w 11"/>
                <a:gd name="T13" fmla="*/ 63 h 63"/>
                <a:gd name="T14" fmla="*/ 11 w 11"/>
                <a:gd name="T15" fmla="*/ 0 h 63"/>
                <a:gd name="T16" fmla="*/ 9 w 11"/>
                <a:gd name="T1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3">
                  <a:moveTo>
                    <a:pt x="9" y="0"/>
                  </a:moveTo>
                  <a:cubicBezTo>
                    <a:pt x="9" y="0"/>
                    <a:pt x="8" y="0"/>
                    <a:pt x="8" y="0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3"/>
                    <a:pt x="3" y="63"/>
                  </a:cubicBezTo>
                  <a:cubicBezTo>
                    <a:pt x="3" y="63"/>
                    <a:pt x="3" y="63"/>
                    <a:pt x="4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F1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3" name="Freeform 111"/>
            <p:cNvSpPr>
              <a:spLocks/>
            </p:cNvSpPr>
            <p:nvPr/>
          </p:nvSpPr>
          <p:spPr bwMode="auto">
            <a:xfrm>
              <a:off x="2298701" y="28225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4" name="Oval 112"/>
            <p:cNvSpPr>
              <a:spLocks noChangeArrowheads="1"/>
            </p:cNvSpPr>
            <p:nvPr/>
          </p:nvSpPr>
          <p:spPr bwMode="auto">
            <a:xfrm>
              <a:off x="2293938" y="2822576"/>
              <a:ext cx="4763" cy="1588"/>
            </a:xfrm>
            <a:prstGeom prst="ellipse">
              <a:avLst/>
            </a:prstGeom>
            <a:solidFill>
              <a:srgbClr val="D9B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113"/>
            <p:cNvSpPr>
              <a:spLocks/>
            </p:cNvSpPr>
            <p:nvPr/>
          </p:nvSpPr>
          <p:spPr bwMode="auto">
            <a:xfrm>
              <a:off x="2338388" y="2497138"/>
              <a:ext cx="9525" cy="4763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1 h 1"/>
                <a:gd name="T6" fmla="*/ 1 w 2"/>
                <a:gd name="T7" fmla="*/ 1 h 1"/>
                <a:gd name="T8" fmla="*/ 1 w 2"/>
                <a:gd name="T9" fmla="*/ 1 h 1"/>
                <a:gd name="T10" fmla="*/ 0 w 2"/>
                <a:gd name="T11" fmla="*/ 1 h 1"/>
                <a:gd name="T12" fmla="*/ 0 w 2"/>
                <a:gd name="T13" fmla="*/ 1 h 1"/>
                <a:gd name="T14" fmla="*/ 0 w 2"/>
                <a:gd name="T15" fmla="*/ 1 h 1"/>
                <a:gd name="T16" fmla="*/ 0 w 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114"/>
            <p:cNvSpPr>
              <a:spLocks/>
            </p:cNvSpPr>
            <p:nvPr/>
          </p:nvSpPr>
          <p:spPr bwMode="auto">
            <a:xfrm>
              <a:off x="2338388" y="2497138"/>
              <a:ext cx="4763" cy="476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115"/>
            <p:cNvSpPr>
              <a:spLocks/>
            </p:cNvSpPr>
            <p:nvPr/>
          </p:nvSpPr>
          <p:spPr bwMode="auto">
            <a:xfrm>
              <a:off x="2362201" y="25019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67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116"/>
            <p:cNvSpPr>
              <a:spLocks/>
            </p:cNvSpPr>
            <p:nvPr/>
          </p:nvSpPr>
          <p:spPr bwMode="auto">
            <a:xfrm>
              <a:off x="2357438" y="2501901"/>
              <a:ext cx="19050" cy="19050"/>
            </a:xfrm>
            <a:custGeom>
              <a:avLst/>
              <a:gdLst>
                <a:gd name="T0" fmla="*/ 1 w 4"/>
                <a:gd name="T1" fmla="*/ 0 h 4"/>
                <a:gd name="T2" fmla="*/ 0 w 4"/>
                <a:gd name="T3" fmla="*/ 3 h 4"/>
                <a:gd name="T4" fmla="*/ 1 w 4"/>
                <a:gd name="T5" fmla="*/ 3 h 4"/>
                <a:gd name="T6" fmla="*/ 3 w 4"/>
                <a:gd name="T7" fmla="*/ 4 h 4"/>
                <a:gd name="T8" fmla="*/ 4 w 4"/>
                <a:gd name="T9" fmla="*/ 1 h 4"/>
                <a:gd name="T10" fmla="*/ 4 w 4"/>
                <a:gd name="T11" fmla="*/ 1 h 4"/>
                <a:gd name="T12" fmla="*/ 1 w 4"/>
                <a:gd name="T13" fmla="*/ 0 h 4"/>
                <a:gd name="T14" fmla="*/ 1 w 4"/>
                <a:gd name="T15" fmla="*/ 0 h 4"/>
                <a:gd name="T16" fmla="*/ 1 w 4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AFA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117"/>
            <p:cNvSpPr>
              <a:spLocks/>
            </p:cNvSpPr>
            <p:nvPr/>
          </p:nvSpPr>
          <p:spPr bwMode="auto">
            <a:xfrm>
              <a:off x="2312988" y="2516188"/>
              <a:ext cx="58738" cy="311150"/>
            </a:xfrm>
            <a:custGeom>
              <a:avLst/>
              <a:gdLst>
                <a:gd name="T0" fmla="*/ 9 w 12"/>
                <a:gd name="T1" fmla="*/ 0 h 64"/>
                <a:gd name="T2" fmla="*/ 1 w 12"/>
                <a:gd name="T3" fmla="*/ 64 h 64"/>
                <a:gd name="T4" fmla="*/ 0 w 12"/>
                <a:gd name="T5" fmla="*/ 64 h 64"/>
                <a:gd name="T6" fmla="*/ 0 w 12"/>
                <a:gd name="T7" fmla="*/ 64 h 64"/>
                <a:gd name="T8" fmla="*/ 0 w 12"/>
                <a:gd name="T9" fmla="*/ 64 h 64"/>
                <a:gd name="T10" fmla="*/ 0 w 12"/>
                <a:gd name="T11" fmla="*/ 64 h 64"/>
                <a:gd name="T12" fmla="*/ 3 w 12"/>
                <a:gd name="T13" fmla="*/ 64 h 64"/>
                <a:gd name="T14" fmla="*/ 4 w 12"/>
                <a:gd name="T15" fmla="*/ 64 h 64"/>
                <a:gd name="T16" fmla="*/ 12 w 12"/>
                <a:gd name="T17" fmla="*/ 1 h 64"/>
                <a:gd name="T18" fmla="*/ 10 w 12"/>
                <a:gd name="T19" fmla="*/ 0 h 64"/>
                <a:gd name="T20" fmla="*/ 9 w 12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64">
                  <a:moveTo>
                    <a:pt x="9" y="0"/>
                  </a:move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" y="64"/>
                    <a:pt x="2" y="64"/>
                    <a:pt x="3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10" y="0"/>
                    <a:pt x="10" y="0"/>
                    <a:pt x="9" y="0"/>
                  </a:cubicBezTo>
                </a:path>
              </a:pathLst>
            </a:custGeom>
            <a:solidFill>
              <a:srgbClr val="F1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18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4B1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9"/>
            <p:cNvSpPr>
              <a:spLocks noEditPoints="1"/>
            </p:cNvSpPr>
            <p:nvPr/>
          </p:nvSpPr>
          <p:spPr bwMode="auto">
            <a:xfrm>
              <a:off x="2312988" y="2827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D9B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0"/>
            <p:cNvSpPr>
              <a:spLocks/>
            </p:cNvSpPr>
            <p:nvPr/>
          </p:nvSpPr>
          <p:spPr bwMode="auto">
            <a:xfrm>
              <a:off x="2343151" y="2501901"/>
              <a:ext cx="19050" cy="0"/>
            </a:xfrm>
            <a:custGeom>
              <a:avLst/>
              <a:gdLst>
                <a:gd name="T0" fmla="*/ 0 w 4"/>
                <a:gd name="T1" fmla="*/ 4 w 4"/>
                <a:gd name="T2" fmla="*/ 4 w 4"/>
                <a:gd name="T3" fmla="*/ 4 w 4"/>
                <a:gd name="T4" fmla="*/ 1 w 4"/>
                <a:gd name="T5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cubicBezTo>
                    <a:pt x="1" y="0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693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21"/>
            <p:cNvSpPr>
              <a:spLocks/>
            </p:cNvSpPr>
            <p:nvPr/>
          </p:nvSpPr>
          <p:spPr bwMode="auto">
            <a:xfrm>
              <a:off x="2333626" y="2497138"/>
              <a:ext cx="28575" cy="19050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4 h 4"/>
                <a:gd name="T4" fmla="*/ 5 w 6"/>
                <a:gd name="T5" fmla="*/ 4 h 4"/>
                <a:gd name="T6" fmla="*/ 6 w 6"/>
                <a:gd name="T7" fmla="*/ 1 h 4"/>
                <a:gd name="T8" fmla="*/ 2 w 6"/>
                <a:gd name="T9" fmla="*/ 1 h 4"/>
                <a:gd name="T10" fmla="*/ 1 w 6"/>
                <a:gd name="T11" fmla="*/ 0 h 4"/>
                <a:gd name="T12" fmla="*/ 0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C2C0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22"/>
            <p:cNvSpPr>
              <a:spLocks/>
            </p:cNvSpPr>
            <p:nvPr/>
          </p:nvSpPr>
          <p:spPr bwMode="auto">
            <a:xfrm>
              <a:off x="2293938" y="2516188"/>
              <a:ext cx="63500" cy="311150"/>
            </a:xfrm>
            <a:custGeom>
              <a:avLst/>
              <a:gdLst>
                <a:gd name="T0" fmla="*/ 8 w 13"/>
                <a:gd name="T1" fmla="*/ 0 h 64"/>
                <a:gd name="T2" fmla="*/ 0 w 13"/>
                <a:gd name="T3" fmla="*/ 63 h 64"/>
                <a:gd name="T4" fmla="*/ 0 w 13"/>
                <a:gd name="T5" fmla="*/ 63 h 64"/>
                <a:gd name="T6" fmla="*/ 1 w 13"/>
                <a:gd name="T7" fmla="*/ 63 h 64"/>
                <a:gd name="T8" fmla="*/ 2 w 13"/>
                <a:gd name="T9" fmla="*/ 63 h 64"/>
                <a:gd name="T10" fmla="*/ 2 w 13"/>
                <a:gd name="T11" fmla="*/ 63 h 64"/>
                <a:gd name="T12" fmla="*/ 2 w 13"/>
                <a:gd name="T13" fmla="*/ 63 h 64"/>
                <a:gd name="T14" fmla="*/ 4 w 13"/>
                <a:gd name="T15" fmla="*/ 64 h 64"/>
                <a:gd name="T16" fmla="*/ 5 w 13"/>
                <a:gd name="T17" fmla="*/ 64 h 64"/>
                <a:gd name="T18" fmla="*/ 13 w 13"/>
                <a:gd name="T19" fmla="*/ 0 h 64"/>
                <a:gd name="T20" fmla="*/ 8 w 13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64">
                  <a:moveTo>
                    <a:pt x="8" y="0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1" y="63"/>
                  </a:cubicBezTo>
                  <a:cubicBezTo>
                    <a:pt x="1" y="63"/>
                    <a:pt x="2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3" y="63"/>
                    <a:pt x="3" y="64"/>
                    <a:pt x="4" y="64"/>
                  </a:cubicBezTo>
                  <a:cubicBezTo>
                    <a:pt x="4" y="64"/>
                    <a:pt x="5" y="64"/>
                    <a:pt x="5" y="6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0" y="0"/>
                    <a:pt x="8" y="0"/>
                  </a:cubicBezTo>
                </a:path>
              </a:pathLst>
            </a:custGeom>
            <a:solidFill>
              <a:srgbClr val="F5EA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23"/>
            <p:cNvSpPr>
              <a:spLocks noEditPoints="1"/>
            </p:cNvSpPr>
            <p:nvPr/>
          </p:nvSpPr>
          <p:spPr bwMode="auto">
            <a:xfrm>
              <a:off x="2298701" y="2822576"/>
              <a:ext cx="14288" cy="4763"/>
            </a:xfrm>
            <a:custGeom>
              <a:avLst/>
              <a:gdLst>
                <a:gd name="T0" fmla="*/ 2 w 3"/>
                <a:gd name="T1" fmla="*/ 0 h 1"/>
                <a:gd name="T2" fmla="*/ 3 w 3"/>
                <a:gd name="T3" fmla="*/ 1 h 1"/>
                <a:gd name="T4" fmla="*/ 3 w 3"/>
                <a:gd name="T5" fmla="*/ 1 h 1"/>
                <a:gd name="T6" fmla="*/ 2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1 w 3"/>
                <a:gd name="T13" fmla="*/ 0 h 1"/>
                <a:gd name="T14" fmla="*/ 1 w 3"/>
                <a:gd name="T15" fmla="*/ 0 h 1"/>
                <a:gd name="T16" fmla="*/ 0 w 3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DEC5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24"/>
            <p:cNvSpPr>
              <a:spLocks noEditPoints="1"/>
            </p:cNvSpPr>
            <p:nvPr/>
          </p:nvSpPr>
          <p:spPr bwMode="auto">
            <a:xfrm>
              <a:off x="2298701" y="2822576"/>
              <a:ext cx="14288" cy="4763"/>
            </a:xfrm>
            <a:custGeom>
              <a:avLst/>
              <a:gdLst>
                <a:gd name="T0" fmla="*/ 1 w 3"/>
                <a:gd name="T1" fmla="*/ 0 h 1"/>
                <a:gd name="T2" fmla="*/ 2 w 3"/>
                <a:gd name="T3" fmla="*/ 0 h 1"/>
                <a:gd name="T4" fmla="*/ 3 w 3"/>
                <a:gd name="T5" fmla="*/ 1 h 1"/>
                <a:gd name="T6" fmla="*/ 3 w 3"/>
                <a:gd name="T7" fmla="*/ 1 h 1"/>
                <a:gd name="T8" fmla="*/ 1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1 w 3"/>
                <a:gd name="T15" fmla="*/ 0 h 1"/>
                <a:gd name="T16" fmla="*/ 1 w 3"/>
                <a:gd name="T17" fmla="*/ 0 h 1"/>
                <a:gd name="T18" fmla="*/ 0 w 3"/>
                <a:gd name="T1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E2CD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3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6" t="22244" r="4809" b="34078"/>
          <a:stretch/>
        </p:blipFill>
        <p:spPr bwMode="auto">
          <a:xfrm>
            <a:off x="3759201" y="3133725"/>
            <a:ext cx="5216326" cy="2352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8" name="Rectangle 197"/>
          <p:cNvSpPr/>
          <p:nvPr/>
        </p:nvSpPr>
        <p:spPr>
          <a:xfrm>
            <a:off x="3840509" y="2316693"/>
            <a:ext cx="1594107" cy="17426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ABBS :: Data Sourcing  :: PMS</a:t>
            </a:r>
            <a:endParaRPr lang="de-DE" sz="800" dirty="0" smtClean="0">
              <a:latin typeface="Segoe UI Emoji" panose="020B0502040204020203" pitchFamily="34" charset="0"/>
              <a:ea typeface="Segoe UI Emoj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5163649" y="2071398"/>
            <a:ext cx="2567326" cy="156850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ABBS </a:t>
            </a:r>
            <a:r>
              <a:rPr lang="en-GB" sz="800" dirty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:: </a:t>
            </a:r>
            <a:r>
              <a:rPr lang="en-GB" sz="800" dirty="0" smtClean="0">
                <a:latin typeface="Segoe UI Emoji" panose="020B0502040204020203" pitchFamily="34" charset="0"/>
                <a:ea typeface="Segoe UI Emoji" panose="020B0502040204020203" pitchFamily="34" charset="0"/>
                <a:cs typeface="Segoe UI" panose="020B0502040204020203" pitchFamily="34" charset="0"/>
              </a:rPr>
              <a:t>PMS :: Service Record</a:t>
            </a:r>
            <a:endParaRPr lang="de-DE" sz="800" dirty="0" smtClean="0">
              <a:latin typeface="Segoe UI Emoji" panose="020B0502040204020203" pitchFamily="34" charset="0"/>
              <a:ea typeface="Segoe UI Emoj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873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Z Technology_Global_Master_16_9_June_2017">
  <a:themeElements>
    <a:clrScheme name="AZ_PPT_GLOBAL_DESIGNFARBEN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Control xmlns="http://schemas.microsoft.com/VisualStudio/2011/storyboarding/control">
  <Id Name="19e0966f-40cc-446e-a248-c10a673782a7" Revision="1" Stencil="System.MyShapes" StencilVersion="1.0"/>
</Control>
</file>

<file path=customXml/itemProps1.xml><?xml version="1.0" encoding="utf-8"?>
<ds:datastoreItem xmlns:ds="http://schemas.openxmlformats.org/officeDocument/2006/customXml" ds:itemID="{8D3225FD-C76F-4B0A-80B4-9CE389B8141C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Z Technology_Global_Master_16_9_June_2017</Template>
  <TotalTime>0</TotalTime>
  <Words>153</Words>
  <Application>Microsoft Office PowerPoint</Application>
  <PresentationFormat>Custom</PresentationFormat>
  <Paragraphs>50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AZ Technology_Global_Master_16_9_June_2017</vt:lpstr>
      <vt:lpstr>think-cell Slide</vt:lpstr>
      <vt:lpstr>Solution Overview</vt:lpstr>
      <vt:lpstr>Solution Overview</vt:lpstr>
      <vt:lpstr>Solution Overview</vt:lpstr>
      <vt:lpstr>ABBS DASHBOARD :: Data sourcing</vt:lpstr>
      <vt:lpstr>ABBS :: Data sourcing :: PMS</vt:lpstr>
      <vt:lpstr>ABBS :: Data sourcing :: PMS :: Docum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7-19T13:43:38Z</dcterms:created>
  <dcterms:modified xsi:type="dcterms:W3CDTF">2019-09-09T12:3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</Properties>
</file>